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heme/theme2.xml" ContentType="application/vnd.openxmlformats-officedocument.them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heme/theme3.xml" ContentType="application/vnd.openxmlformats-officedocument.theme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5" r:id="rId5"/>
  </p:sldMasterIdLst>
  <p:notesMasterIdLst>
    <p:notesMasterId r:id="rId23"/>
  </p:notesMasterIdLst>
  <p:handoutMasterIdLst>
    <p:handoutMasterId r:id="rId24"/>
  </p:handoutMasterIdLst>
  <p:sldIdLst>
    <p:sldId id="347" r:id="rId6"/>
    <p:sldId id="258" r:id="rId7"/>
    <p:sldId id="348" r:id="rId8"/>
    <p:sldId id="349" r:id="rId9"/>
    <p:sldId id="350" r:id="rId10"/>
    <p:sldId id="334" r:id="rId11"/>
    <p:sldId id="351" r:id="rId12"/>
    <p:sldId id="352" r:id="rId13"/>
    <p:sldId id="353" r:id="rId14"/>
    <p:sldId id="355" r:id="rId15"/>
    <p:sldId id="354" r:id="rId16"/>
    <p:sldId id="356" r:id="rId17"/>
    <p:sldId id="357" r:id="rId18"/>
    <p:sldId id="359" r:id="rId19"/>
    <p:sldId id="360" r:id="rId20"/>
    <p:sldId id="358" r:id="rId21"/>
    <p:sldId id="257" r:id="rId22"/>
  </p:sldIdLst>
  <p:sldSz cx="12192000" cy="6858000"/>
  <p:notesSz cx="7099300" cy="10234613"/>
  <p:custDataLst>
    <p:tags r:id="rId2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609585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121917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828754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2438339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3047924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3657509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4267093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4876678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0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187">
          <p15:clr>
            <a:srgbClr val="A4A3A4"/>
          </p15:clr>
        </p15:guide>
        <p15:guide id="2" orient="horz" pos="638">
          <p15:clr>
            <a:srgbClr val="A4A3A4"/>
          </p15:clr>
        </p15:guide>
        <p15:guide id="3" orient="horz" pos="453">
          <p15:clr>
            <a:srgbClr val="A4A3A4"/>
          </p15:clr>
        </p15:guide>
        <p15:guide id="4" orient="horz" pos="6262">
          <p15:clr>
            <a:srgbClr val="A4A3A4"/>
          </p15:clr>
        </p15:guide>
        <p15:guide id="5" pos="4186">
          <p15:clr>
            <a:srgbClr val="A4A3A4"/>
          </p15:clr>
        </p15:guide>
        <p15:guide id="6" pos="286">
          <p15:clr>
            <a:srgbClr val="A4A3A4"/>
          </p15:clr>
        </p15:guide>
        <p15:guide id="7" pos="830">
          <p15:clr>
            <a:srgbClr val="A4A3A4"/>
          </p15:clr>
        </p15:guide>
        <p15:guide id="8" pos="3869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4B2E013-D972-11A8-9168-6BC259BE9AAC}" name="Luca Ricci" initials="LR" userId="S::10451631@polimi.it::ee5f09d5-0832-4e68-94c9-d8bfd2ad04f0" providerId="AD"/>
  <p188:author id="{7289294F-BB4E-3CFA-410A-727A10F9B155}" name="Gabriele Zanoletti" initials="GZ" userId="S::10607105@polimi.it::fc6666fa-3441-4ddc-a8b9-f69fbbdf5644" providerId="AD"/>
  <p188:author id="{EF6AC25E-B7D0-85C1-A6F6-40247FD68121}" name="Michele Rocco" initials="MR" userId="S::10749058@polimi.it::b98ebe7a-7641-4b10-bb82-27245654a50a" providerId="AD"/>
  <p188:author id="{9732C2EA-D5AC-3619-A13B-2163F8276712}" name="Gabriele Be'" initials="GB" userId="S::10455288@polimi.it::7bf626d5-9dae-4fe7-9b21-8b110831bcf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818FF"/>
    <a:srgbClr val="FFFFFF"/>
    <a:srgbClr val="C3D0DD"/>
    <a:srgbClr val="1D1D1A"/>
    <a:srgbClr val="FCD442"/>
    <a:srgbClr val="FF6666"/>
    <a:srgbClr val="4DB6AF"/>
    <a:srgbClr val="1D1D6F"/>
    <a:srgbClr val="B6CACA"/>
    <a:srgbClr val="7390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C0633A6-D8FA-2343-AEB0-3F442ECCECB1}" v="7" dt="2024-10-17T12:58:42.957"/>
  </p1510:revLst>
</p1510:revInfo>
</file>

<file path=ppt/tableStyles.xml><?xml version="1.0" encoding="utf-8"?>
<a:tblStyleLst xmlns:a="http://schemas.openxmlformats.org/drawingml/2006/main" def="{69012ECD-51FC-41F1-AA8D-1B2483CD663E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9525" cmpd="sng">
              <a:solidFill>
                <a:schemeClr val="lt1"/>
              </a:solidFill>
            </a:ln>
          </a:left>
          <a:right>
            <a:ln w="9525" cmpd="sng">
              <a:solidFill>
                <a:srgbClr val="FFFFFF"/>
              </a:solidFill>
            </a:ln>
          </a:right>
          <a:top>
            <a:ln w="9525" cmpd="sng">
              <a:solidFill>
                <a:srgbClr val="FFFFFF"/>
              </a:solidFill>
            </a:ln>
          </a:top>
          <a:bottom>
            <a:ln w="9525" cmpd="sng">
              <a:solidFill>
                <a:srgbClr val="FFFFFF"/>
              </a:solidFill>
            </a:ln>
          </a:bottom>
          <a:insideH>
            <a:ln w="9525" cmpd="sng">
              <a:solidFill>
                <a:srgbClr val="FFFFFF"/>
              </a:solidFill>
            </a:ln>
          </a:insideH>
          <a:insideV>
            <a:ln w="9525" cmpd="sng">
              <a:solidFill>
                <a:srgbClr val="FFFFFF"/>
              </a:solidFill>
            </a:ln>
          </a:insideV>
        </a:tcBdr>
        <a:fill>
          <a:solidFill>
            <a:schemeClr val="lt2"/>
          </a:solidFill>
        </a:fill>
      </a:tcStyle>
    </a:wholeTbl>
    <a:band1H>
      <a:tcStyle>
        <a:tcBdr/>
      </a:tcStyle>
    </a:band1H>
    <a:band2H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H>
    <a:band1V>
      <a:tcStyle>
        <a:tcBdr/>
      </a:tcStyle>
    </a:band1V>
    <a:band2V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V>
    <a:la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Row>
    <a:fir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84E427A-3D55-4303-BF80-6455036E1DE7}" styleName="Themed Style 1 –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263"/>
    <p:restoredTop sz="96327"/>
  </p:normalViewPr>
  <p:slideViewPr>
    <p:cSldViewPr snapToGrid="0">
      <p:cViewPr varScale="1">
        <p:scale>
          <a:sx n="79" d="100"/>
          <a:sy n="79" d="100"/>
        </p:scale>
        <p:origin x="883" y="77"/>
      </p:cViewPr>
      <p:guideLst>
        <p:guide pos="3840"/>
        <p:guide orient="horz" pos="20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187"/>
        <p:guide orient="horz" pos="638"/>
        <p:guide orient="horz" pos="453"/>
        <p:guide orient="horz" pos="6262"/>
        <p:guide pos="4186"/>
        <p:guide pos="286"/>
        <p:guide pos="830"/>
        <p:guide pos="386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handoutMaster" Target="handoutMasters/handoutMaster1.xml"/><Relationship Id="rId32" Type="http://schemas.microsoft.com/office/2018/10/relationships/authors" Target="author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microsoft.com/office/2015/10/relationships/revisionInfo" Target="revisionInfo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chele Rocco" userId="b98ebe7a-7641-4b10-bb82-27245654a50a" providerId="ADAL" clId="{74284C1D-32AE-4790-9EEE-CE796524812A}"/>
    <pc:docChg chg="custSel addSld modSld">
      <pc:chgData name="Michele Rocco" userId="b98ebe7a-7641-4b10-bb82-27245654a50a" providerId="ADAL" clId="{74284C1D-32AE-4790-9EEE-CE796524812A}" dt="2024-01-25T09:43:45.383" v="307" actId="14100"/>
      <pc:docMkLst>
        <pc:docMk/>
      </pc:docMkLst>
      <pc:sldChg chg="modSp">
        <pc:chgData name="Michele Rocco" userId="b98ebe7a-7641-4b10-bb82-27245654a50a" providerId="ADAL" clId="{74284C1D-32AE-4790-9EEE-CE796524812A}" dt="2024-01-25T09:39:18.464" v="26" actId="14826"/>
        <pc:sldMkLst>
          <pc:docMk/>
          <pc:sldMk cId="2889248117" sldId="341"/>
        </pc:sldMkLst>
        <pc:picChg chg="mod">
          <ac:chgData name="Michele Rocco" userId="b98ebe7a-7641-4b10-bb82-27245654a50a" providerId="ADAL" clId="{74284C1D-32AE-4790-9EEE-CE796524812A}" dt="2024-01-25T09:34:48.012" v="24" actId="14826"/>
          <ac:picMkLst>
            <pc:docMk/>
            <pc:sldMk cId="2889248117" sldId="341"/>
            <ac:picMk id="8" creationId="{4E06B517-27D0-7536-7A62-547AE5DF44B7}"/>
          </ac:picMkLst>
        </pc:picChg>
        <pc:picChg chg="mod">
          <ac:chgData name="Michele Rocco" userId="b98ebe7a-7641-4b10-bb82-27245654a50a" providerId="ADAL" clId="{74284C1D-32AE-4790-9EEE-CE796524812A}" dt="2024-01-25T09:39:18.464" v="26" actId="14826"/>
          <ac:picMkLst>
            <pc:docMk/>
            <pc:sldMk cId="2889248117" sldId="341"/>
            <ac:picMk id="9" creationId="{82C8B22C-5244-067F-5B13-F271C2408764}"/>
          </ac:picMkLst>
        </pc:picChg>
      </pc:sldChg>
      <pc:sldChg chg="modSp">
        <pc:chgData name="Michele Rocco" userId="b98ebe7a-7641-4b10-bb82-27245654a50a" providerId="ADAL" clId="{74284C1D-32AE-4790-9EEE-CE796524812A}" dt="2024-01-25T09:32:12.464" v="20" actId="14826"/>
        <pc:sldMkLst>
          <pc:docMk/>
          <pc:sldMk cId="3557329851" sldId="343"/>
        </pc:sldMkLst>
        <pc:picChg chg="mod">
          <ac:chgData name="Michele Rocco" userId="b98ebe7a-7641-4b10-bb82-27245654a50a" providerId="ADAL" clId="{74284C1D-32AE-4790-9EEE-CE796524812A}" dt="2024-01-25T09:32:12.464" v="20" actId="14826"/>
          <ac:picMkLst>
            <pc:docMk/>
            <pc:sldMk cId="3557329851" sldId="343"/>
            <ac:picMk id="6" creationId="{8B3388DE-C928-EFB8-A9A8-305C76A80A65}"/>
          </ac:picMkLst>
        </pc:picChg>
      </pc:sldChg>
      <pc:sldChg chg="modSp">
        <pc:chgData name="Michele Rocco" userId="b98ebe7a-7641-4b10-bb82-27245654a50a" providerId="ADAL" clId="{74284C1D-32AE-4790-9EEE-CE796524812A}" dt="2024-01-25T09:39:04.996" v="25" actId="14826"/>
        <pc:sldMkLst>
          <pc:docMk/>
          <pc:sldMk cId="782384403" sldId="345"/>
        </pc:sldMkLst>
        <pc:picChg chg="mod">
          <ac:chgData name="Michele Rocco" userId="b98ebe7a-7641-4b10-bb82-27245654a50a" providerId="ADAL" clId="{74284C1D-32AE-4790-9EEE-CE796524812A}" dt="2024-01-25T09:33:22.131" v="23" actId="14826"/>
          <ac:picMkLst>
            <pc:docMk/>
            <pc:sldMk cId="782384403" sldId="345"/>
            <ac:picMk id="6" creationId="{DA248A1A-2898-B3B9-3A5B-2232F0DE2EBE}"/>
          </ac:picMkLst>
        </pc:picChg>
        <pc:picChg chg="mod">
          <ac:chgData name="Michele Rocco" userId="b98ebe7a-7641-4b10-bb82-27245654a50a" providerId="ADAL" clId="{74284C1D-32AE-4790-9EEE-CE796524812A}" dt="2024-01-25T09:39:04.996" v="25" actId="14826"/>
          <ac:picMkLst>
            <pc:docMk/>
            <pc:sldMk cId="782384403" sldId="345"/>
            <ac:picMk id="7" creationId="{7F7D1DFD-32E0-56CE-FCD2-56ACA5464BDB}"/>
          </ac:picMkLst>
        </pc:picChg>
      </pc:sldChg>
      <pc:sldChg chg="addSp delSp modSp new mod">
        <pc:chgData name="Michele Rocco" userId="b98ebe7a-7641-4b10-bb82-27245654a50a" providerId="ADAL" clId="{74284C1D-32AE-4790-9EEE-CE796524812A}" dt="2024-01-25T09:43:45.383" v="307" actId="14100"/>
        <pc:sldMkLst>
          <pc:docMk/>
          <pc:sldMk cId="3489691726" sldId="348"/>
        </pc:sldMkLst>
        <pc:spChg chg="del">
          <ac:chgData name="Michele Rocco" userId="b98ebe7a-7641-4b10-bb82-27245654a50a" providerId="ADAL" clId="{74284C1D-32AE-4790-9EEE-CE796524812A}" dt="2024-01-25T09:24:11.923" v="1" actId="931"/>
          <ac:spMkLst>
            <pc:docMk/>
            <pc:sldMk cId="3489691726" sldId="348"/>
            <ac:spMk id="2" creationId="{DCB031FC-EF8A-4AB0-7C7C-22716AD2D961}"/>
          </ac:spMkLst>
        </pc:spChg>
        <pc:spChg chg="mod">
          <ac:chgData name="Michele Rocco" userId="b98ebe7a-7641-4b10-bb82-27245654a50a" providerId="ADAL" clId="{74284C1D-32AE-4790-9EEE-CE796524812A}" dt="2024-01-25T09:40:05.943" v="75" actId="20577"/>
          <ac:spMkLst>
            <pc:docMk/>
            <pc:sldMk cId="3489691726" sldId="348"/>
            <ac:spMk id="3" creationId="{C80883C9-0B4F-5E5B-C507-319F8B0A12C7}"/>
          </ac:spMkLst>
        </pc:spChg>
        <pc:spChg chg="add mod">
          <ac:chgData name="Michele Rocco" userId="b98ebe7a-7641-4b10-bb82-27245654a50a" providerId="ADAL" clId="{74284C1D-32AE-4790-9EEE-CE796524812A}" dt="2024-01-25T09:43:45.383" v="307" actId="14100"/>
          <ac:spMkLst>
            <pc:docMk/>
            <pc:sldMk cId="3489691726" sldId="348"/>
            <ac:spMk id="6" creationId="{91623543-6B41-2D96-D1AA-92E18BFE0BFF}"/>
          </ac:spMkLst>
        </pc:spChg>
        <pc:spChg chg="add del mod">
          <ac:chgData name="Michele Rocco" userId="b98ebe7a-7641-4b10-bb82-27245654a50a" providerId="ADAL" clId="{74284C1D-32AE-4790-9EEE-CE796524812A}" dt="2024-01-25T09:27:14.656" v="3" actId="931"/>
          <ac:spMkLst>
            <pc:docMk/>
            <pc:sldMk cId="3489691726" sldId="348"/>
            <ac:spMk id="9" creationId="{8DAC2F81-B833-9C12-BA06-629DE1AE691B}"/>
          </ac:spMkLst>
        </pc:spChg>
        <pc:picChg chg="add mod">
          <ac:chgData name="Michele Rocco" userId="b98ebe7a-7641-4b10-bb82-27245654a50a" providerId="ADAL" clId="{74284C1D-32AE-4790-9EEE-CE796524812A}" dt="2024-01-25T09:40:28.986" v="82" actId="1076"/>
          <ac:picMkLst>
            <pc:docMk/>
            <pc:sldMk cId="3489691726" sldId="348"/>
            <ac:picMk id="7" creationId="{BF47B201-4C7A-808B-4502-11BCAE8039BE}"/>
          </ac:picMkLst>
        </pc:picChg>
        <pc:picChg chg="add del mod">
          <ac:chgData name="Michele Rocco" userId="b98ebe7a-7641-4b10-bb82-27245654a50a" providerId="ADAL" clId="{74284C1D-32AE-4790-9EEE-CE796524812A}" dt="2024-01-25T09:26:13.421" v="2" actId="478"/>
          <ac:picMkLst>
            <pc:docMk/>
            <pc:sldMk cId="3489691726" sldId="348"/>
            <ac:picMk id="7" creationId="{EB02817B-42D0-BEF7-70D3-71CABA2CDFB1}"/>
          </ac:picMkLst>
        </pc:picChg>
        <pc:picChg chg="add del mod">
          <ac:chgData name="Michele Rocco" userId="b98ebe7a-7641-4b10-bb82-27245654a50a" providerId="ADAL" clId="{74284C1D-32AE-4790-9EEE-CE796524812A}" dt="2024-01-25T09:40:13.979" v="78" actId="21"/>
          <ac:picMkLst>
            <pc:docMk/>
            <pc:sldMk cId="3489691726" sldId="348"/>
            <ac:picMk id="11" creationId="{BF47B201-4C7A-808B-4502-11BCAE8039BE}"/>
          </ac:picMkLst>
        </pc:picChg>
      </pc:sldChg>
    </pc:docChg>
  </pc:docChgLst>
  <pc:docChgLst>
    <pc:chgData name="Luca Ricci" userId="ee5f09d5-0832-4e68-94c9-d8bfd2ad04f0" providerId="ADAL" clId="{4BC29580-8BCE-764B-9666-98CD2F633B19}"/>
    <pc:docChg chg="custSel modSld">
      <pc:chgData name="Luca Ricci" userId="ee5f09d5-0832-4e68-94c9-d8bfd2ad04f0" providerId="ADAL" clId="{4BC29580-8BCE-764B-9666-98CD2F633B19}" dt="2023-11-30T10:44:52.882" v="4" actId="700"/>
      <pc:docMkLst>
        <pc:docMk/>
      </pc:docMkLst>
      <pc:sldChg chg="addSp delSp modSp mod modClrScheme chgLayout">
        <pc:chgData name="Luca Ricci" userId="ee5f09d5-0832-4e68-94c9-d8bfd2ad04f0" providerId="ADAL" clId="{4BC29580-8BCE-764B-9666-98CD2F633B19}" dt="2023-11-30T10:44:52.882" v="4" actId="700"/>
        <pc:sldMkLst>
          <pc:docMk/>
          <pc:sldMk cId="913701754" sldId="267"/>
        </pc:sldMkLst>
        <pc:spChg chg="add del mod ord">
          <ac:chgData name="Luca Ricci" userId="ee5f09d5-0832-4e68-94c9-d8bfd2ad04f0" providerId="ADAL" clId="{4BC29580-8BCE-764B-9666-98CD2F633B19}" dt="2023-11-30T10:44:46.376" v="1" actId="700"/>
          <ac:spMkLst>
            <pc:docMk/>
            <pc:sldMk cId="913701754" sldId="267"/>
            <ac:spMk id="2" creationId="{187947C4-6ED7-79CA-42CC-9ED1FCB56DBB}"/>
          </ac:spMkLst>
        </pc:spChg>
        <pc:spChg chg="add del mod ord">
          <ac:chgData name="Luca Ricci" userId="ee5f09d5-0832-4e68-94c9-d8bfd2ad04f0" providerId="ADAL" clId="{4BC29580-8BCE-764B-9666-98CD2F633B19}" dt="2023-11-30T10:44:46.376" v="1" actId="700"/>
          <ac:spMkLst>
            <pc:docMk/>
            <pc:sldMk cId="913701754" sldId="267"/>
            <ac:spMk id="3" creationId="{F0489790-85DE-90D4-1D37-BD7E88751938}"/>
          </ac:spMkLst>
        </pc:spChg>
        <pc:spChg chg="add del mod ord">
          <ac:chgData name="Luca Ricci" userId="ee5f09d5-0832-4e68-94c9-d8bfd2ad04f0" providerId="ADAL" clId="{4BC29580-8BCE-764B-9666-98CD2F633B19}" dt="2023-11-30T10:44:46.376" v="1" actId="700"/>
          <ac:spMkLst>
            <pc:docMk/>
            <pc:sldMk cId="913701754" sldId="267"/>
            <ac:spMk id="4" creationId="{B042F4BE-04E2-00F7-6B97-50BBE90586D2}"/>
          </ac:spMkLst>
        </pc:spChg>
        <pc:spChg chg="mod ord">
          <ac:chgData name="Luca Ricci" userId="ee5f09d5-0832-4e68-94c9-d8bfd2ad04f0" providerId="ADAL" clId="{4BC29580-8BCE-764B-9666-98CD2F633B19}" dt="2023-11-30T10:44:52.882" v="4" actId="700"/>
          <ac:spMkLst>
            <pc:docMk/>
            <pc:sldMk cId="913701754" sldId="267"/>
            <ac:spMk id="5" creationId="{E21AFF28-0883-405B-A8DD-D42393A233A2}"/>
          </ac:spMkLst>
        </pc:spChg>
        <pc:spChg chg="add del mod ord">
          <ac:chgData name="Luca Ricci" userId="ee5f09d5-0832-4e68-94c9-d8bfd2ad04f0" providerId="ADAL" clId="{4BC29580-8BCE-764B-9666-98CD2F633B19}" dt="2023-11-30T10:44:46.376" v="1" actId="700"/>
          <ac:spMkLst>
            <pc:docMk/>
            <pc:sldMk cId="913701754" sldId="267"/>
            <ac:spMk id="6" creationId="{A6D6E34A-1D08-A1DF-F495-14832730D313}"/>
          </ac:spMkLst>
        </pc:spChg>
        <pc:spChg chg="del mod ord">
          <ac:chgData name="Luca Ricci" userId="ee5f09d5-0832-4e68-94c9-d8bfd2ad04f0" providerId="ADAL" clId="{4BC29580-8BCE-764B-9666-98CD2F633B19}" dt="2023-11-30T10:44:42.097" v="0" actId="700"/>
          <ac:spMkLst>
            <pc:docMk/>
            <pc:sldMk cId="913701754" sldId="267"/>
            <ac:spMk id="7" creationId="{3FB1C68C-D054-4F8D-AA7A-F778CCFFFD34}"/>
          </ac:spMkLst>
        </pc:spChg>
        <pc:spChg chg="del mod ord">
          <ac:chgData name="Luca Ricci" userId="ee5f09d5-0832-4e68-94c9-d8bfd2ad04f0" providerId="ADAL" clId="{4BC29580-8BCE-764B-9666-98CD2F633B19}" dt="2023-11-30T10:44:42.097" v="0" actId="700"/>
          <ac:spMkLst>
            <pc:docMk/>
            <pc:sldMk cId="913701754" sldId="267"/>
            <ac:spMk id="8" creationId="{0FB27639-D1FE-4EB7-81D0-019FC186FBB5}"/>
          </ac:spMkLst>
        </pc:spChg>
        <pc:spChg chg="del mod ord">
          <ac:chgData name="Luca Ricci" userId="ee5f09d5-0832-4e68-94c9-d8bfd2ad04f0" providerId="ADAL" clId="{4BC29580-8BCE-764B-9666-98CD2F633B19}" dt="2023-11-30T10:44:42.097" v="0" actId="700"/>
          <ac:spMkLst>
            <pc:docMk/>
            <pc:sldMk cId="913701754" sldId="267"/>
            <ac:spMk id="9" creationId="{41589B28-D26E-44F4-8C62-FEE4AAED4A70}"/>
          </ac:spMkLst>
        </pc:spChg>
        <pc:spChg chg="add del mod ord">
          <ac:chgData name="Luca Ricci" userId="ee5f09d5-0832-4e68-94c9-d8bfd2ad04f0" providerId="ADAL" clId="{4BC29580-8BCE-764B-9666-98CD2F633B19}" dt="2023-11-30T10:44:46.376" v="1" actId="700"/>
          <ac:spMkLst>
            <pc:docMk/>
            <pc:sldMk cId="913701754" sldId="267"/>
            <ac:spMk id="10" creationId="{9A06F187-3954-B4FD-A2C1-A44BFFE72601}"/>
          </ac:spMkLst>
        </pc:spChg>
        <pc:spChg chg="add del mod ord">
          <ac:chgData name="Luca Ricci" userId="ee5f09d5-0832-4e68-94c9-d8bfd2ad04f0" providerId="ADAL" clId="{4BC29580-8BCE-764B-9666-98CD2F633B19}" dt="2023-11-30T10:44:48.907" v="2" actId="700"/>
          <ac:spMkLst>
            <pc:docMk/>
            <pc:sldMk cId="913701754" sldId="267"/>
            <ac:spMk id="11" creationId="{DDC54C76-4D3A-F6D8-A55C-0FC0B7A77781}"/>
          </ac:spMkLst>
        </pc:spChg>
        <pc:spChg chg="add del mod ord">
          <ac:chgData name="Luca Ricci" userId="ee5f09d5-0832-4e68-94c9-d8bfd2ad04f0" providerId="ADAL" clId="{4BC29580-8BCE-764B-9666-98CD2F633B19}" dt="2023-11-30T10:44:48.907" v="2" actId="700"/>
          <ac:spMkLst>
            <pc:docMk/>
            <pc:sldMk cId="913701754" sldId="267"/>
            <ac:spMk id="12" creationId="{A5BDB40A-E00F-9688-CAF6-8CEDA63FFEE1}"/>
          </ac:spMkLst>
        </pc:spChg>
        <pc:spChg chg="add del mod ord">
          <ac:chgData name="Luca Ricci" userId="ee5f09d5-0832-4e68-94c9-d8bfd2ad04f0" providerId="ADAL" clId="{4BC29580-8BCE-764B-9666-98CD2F633B19}" dt="2023-11-30T10:44:48.907" v="2" actId="700"/>
          <ac:spMkLst>
            <pc:docMk/>
            <pc:sldMk cId="913701754" sldId="267"/>
            <ac:spMk id="13" creationId="{CE906CD6-3ED6-6C02-19ED-D08668B42F7D}"/>
          </ac:spMkLst>
        </pc:spChg>
        <pc:spChg chg="add del mod ord">
          <ac:chgData name="Luca Ricci" userId="ee5f09d5-0832-4e68-94c9-d8bfd2ad04f0" providerId="ADAL" clId="{4BC29580-8BCE-764B-9666-98CD2F633B19}" dt="2023-11-30T10:44:48.907" v="2" actId="700"/>
          <ac:spMkLst>
            <pc:docMk/>
            <pc:sldMk cId="913701754" sldId="267"/>
            <ac:spMk id="14" creationId="{CC9AFD52-C010-2588-9E3E-0606516A5A14}"/>
          </ac:spMkLst>
        </pc:spChg>
        <pc:spChg chg="add del mod ord">
          <ac:chgData name="Luca Ricci" userId="ee5f09d5-0832-4e68-94c9-d8bfd2ad04f0" providerId="ADAL" clId="{4BC29580-8BCE-764B-9666-98CD2F633B19}" dt="2023-11-30T10:44:51.006" v="3" actId="700"/>
          <ac:spMkLst>
            <pc:docMk/>
            <pc:sldMk cId="913701754" sldId="267"/>
            <ac:spMk id="15" creationId="{4E491013-2FEC-14DA-B212-424476D1709B}"/>
          </ac:spMkLst>
        </pc:spChg>
        <pc:spChg chg="add del mod ord">
          <ac:chgData name="Luca Ricci" userId="ee5f09d5-0832-4e68-94c9-d8bfd2ad04f0" providerId="ADAL" clId="{4BC29580-8BCE-764B-9666-98CD2F633B19}" dt="2023-11-30T10:44:51.006" v="3" actId="700"/>
          <ac:spMkLst>
            <pc:docMk/>
            <pc:sldMk cId="913701754" sldId="267"/>
            <ac:spMk id="16" creationId="{B13B9A36-EC2D-C009-F787-9F5DB3D6CA3C}"/>
          </ac:spMkLst>
        </pc:spChg>
        <pc:spChg chg="add del mod ord">
          <ac:chgData name="Luca Ricci" userId="ee5f09d5-0832-4e68-94c9-d8bfd2ad04f0" providerId="ADAL" clId="{4BC29580-8BCE-764B-9666-98CD2F633B19}" dt="2023-11-30T10:44:51.006" v="3" actId="700"/>
          <ac:spMkLst>
            <pc:docMk/>
            <pc:sldMk cId="913701754" sldId="267"/>
            <ac:spMk id="17" creationId="{B2F25FE8-05DF-A25A-4149-EBE032F91139}"/>
          </ac:spMkLst>
        </pc:spChg>
        <pc:spChg chg="add del mod ord">
          <ac:chgData name="Luca Ricci" userId="ee5f09d5-0832-4e68-94c9-d8bfd2ad04f0" providerId="ADAL" clId="{4BC29580-8BCE-764B-9666-98CD2F633B19}" dt="2023-11-30T10:44:51.006" v="3" actId="700"/>
          <ac:spMkLst>
            <pc:docMk/>
            <pc:sldMk cId="913701754" sldId="267"/>
            <ac:spMk id="18" creationId="{CA89AA77-D038-C87D-712E-AC9610E883C5}"/>
          </ac:spMkLst>
        </pc:spChg>
        <pc:spChg chg="add del mod ord">
          <ac:chgData name="Luca Ricci" userId="ee5f09d5-0832-4e68-94c9-d8bfd2ad04f0" providerId="ADAL" clId="{4BC29580-8BCE-764B-9666-98CD2F633B19}" dt="2023-11-30T10:44:51.006" v="3" actId="700"/>
          <ac:spMkLst>
            <pc:docMk/>
            <pc:sldMk cId="913701754" sldId="267"/>
            <ac:spMk id="19" creationId="{C1CC7F20-3A1C-6012-6A69-8BAFB59FA3BE}"/>
          </ac:spMkLst>
        </pc:spChg>
        <pc:spChg chg="add mod ord">
          <ac:chgData name="Luca Ricci" userId="ee5f09d5-0832-4e68-94c9-d8bfd2ad04f0" providerId="ADAL" clId="{4BC29580-8BCE-764B-9666-98CD2F633B19}" dt="2023-11-30T10:44:52.882" v="4" actId="700"/>
          <ac:spMkLst>
            <pc:docMk/>
            <pc:sldMk cId="913701754" sldId="267"/>
            <ac:spMk id="20" creationId="{457D79A4-B774-F283-EF5E-EDFE0130FC03}"/>
          </ac:spMkLst>
        </pc:spChg>
        <pc:spChg chg="add mod ord">
          <ac:chgData name="Luca Ricci" userId="ee5f09d5-0832-4e68-94c9-d8bfd2ad04f0" providerId="ADAL" clId="{4BC29580-8BCE-764B-9666-98CD2F633B19}" dt="2023-11-30T10:44:52.882" v="4" actId="700"/>
          <ac:spMkLst>
            <pc:docMk/>
            <pc:sldMk cId="913701754" sldId="267"/>
            <ac:spMk id="21" creationId="{255F264B-E505-588A-9605-3C51E4AB1FAB}"/>
          </ac:spMkLst>
        </pc:spChg>
        <pc:spChg chg="add mod ord">
          <ac:chgData name="Luca Ricci" userId="ee5f09d5-0832-4e68-94c9-d8bfd2ad04f0" providerId="ADAL" clId="{4BC29580-8BCE-764B-9666-98CD2F633B19}" dt="2023-11-30T10:44:52.882" v="4" actId="700"/>
          <ac:spMkLst>
            <pc:docMk/>
            <pc:sldMk cId="913701754" sldId="267"/>
            <ac:spMk id="22" creationId="{7D01FEAD-26A1-B766-C97A-56B40A6FE3BC}"/>
          </ac:spMkLst>
        </pc:spChg>
        <pc:spChg chg="add mod ord">
          <ac:chgData name="Luca Ricci" userId="ee5f09d5-0832-4e68-94c9-d8bfd2ad04f0" providerId="ADAL" clId="{4BC29580-8BCE-764B-9666-98CD2F633B19}" dt="2023-11-30T10:44:52.882" v="4" actId="700"/>
          <ac:spMkLst>
            <pc:docMk/>
            <pc:sldMk cId="913701754" sldId="267"/>
            <ac:spMk id="23" creationId="{7671A821-5F86-8FC3-A75D-B9F48E99632D}"/>
          </ac:spMkLst>
        </pc:spChg>
      </pc:sldChg>
    </pc:docChg>
  </pc:docChgLst>
  <pc:docChgLst>
    <pc:chgData name="Gabriele Be'" userId="7bf626d5-9dae-4fe7-9b21-8b110831bcf6" providerId="ADAL" clId="{BB824434-7F60-644E-BC42-2955C272D2F9}"/>
    <pc:docChg chg="delSection">
      <pc:chgData name="Gabriele Be'" userId="7bf626d5-9dae-4fe7-9b21-8b110831bcf6" providerId="ADAL" clId="{BB824434-7F60-644E-BC42-2955C272D2F9}" dt="2024-01-26T08:33:35.805" v="0" actId="17853"/>
      <pc:docMkLst>
        <pc:docMk/>
      </pc:docMkLst>
    </pc:docChg>
  </pc:docChgLst>
  <pc:docChgLst>
    <pc:chgData name="Gabriele Zanoletti" userId="fc6666fa-3441-4ddc-a8b9-f69fbbdf5644" providerId="ADAL" clId="{F2571258-CC26-4B12-B833-E4A17A5DE9C1}"/>
    <pc:docChg chg="undo custSel addSld delSld modSld sldOrd">
      <pc:chgData name="Gabriele Zanoletti" userId="fc6666fa-3441-4ddc-a8b9-f69fbbdf5644" providerId="ADAL" clId="{F2571258-CC26-4B12-B833-E4A17A5DE9C1}" dt="2024-01-24T12:14:36.734" v="11101" actId="20577"/>
      <pc:docMkLst>
        <pc:docMk/>
      </pc:docMkLst>
      <pc:sldChg chg="ord">
        <pc:chgData name="Gabriele Zanoletti" userId="fc6666fa-3441-4ddc-a8b9-f69fbbdf5644" providerId="ADAL" clId="{F2571258-CC26-4B12-B833-E4A17A5DE9C1}" dt="2024-01-23T14:59:48.793" v="748"/>
        <pc:sldMkLst>
          <pc:docMk/>
          <pc:sldMk cId="895135860" sldId="257"/>
        </pc:sldMkLst>
      </pc:sldChg>
      <pc:sldChg chg="addSp delSp modSp mod">
        <pc:chgData name="Gabriele Zanoletti" userId="fc6666fa-3441-4ddc-a8b9-f69fbbdf5644" providerId="ADAL" clId="{F2571258-CC26-4B12-B833-E4A17A5DE9C1}" dt="2024-01-17T13:13:52.431" v="208" actId="478"/>
        <pc:sldMkLst>
          <pc:docMk/>
          <pc:sldMk cId="3601296254" sldId="258"/>
        </pc:sldMkLst>
        <pc:spChg chg="mod">
          <ac:chgData name="Gabriele Zanoletti" userId="fc6666fa-3441-4ddc-a8b9-f69fbbdf5644" providerId="ADAL" clId="{F2571258-CC26-4B12-B833-E4A17A5DE9C1}" dt="2024-01-15T14:06:41.836" v="197" actId="20577"/>
          <ac:spMkLst>
            <pc:docMk/>
            <pc:sldMk cId="3601296254" sldId="258"/>
            <ac:spMk id="4" creationId="{1AC29BDC-7CB8-266E-07CF-D9D5D9169AC3}"/>
          </ac:spMkLst>
        </pc:spChg>
        <pc:spChg chg="add del mod ord">
          <ac:chgData name="Gabriele Zanoletti" userId="fc6666fa-3441-4ddc-a8b9-f69fbbdf5644" providerId="ADAL" clId="{F2571258-CC26-4B12-B833-E4A17A5DE9C1}" dt="2024-01-17T13:13:52.431" v="208" actId="478"/>
          <ac:spMkLst>
            <pc:docMk/>
            <pc:sldMk cId="3601296254" sldId="258"/>
            <ac:spMk id="6" creationId="{42C53683-346D-C3FA-25DD-4C6FAAEA08EC}"/>
          </ac:spMkLst>
        </pc:spChg>
        <pc:picChg chg="add del mod">
          <ac:chgData name="Gabriele Zanoletti" userId="fc6666fa-3441-4ddc-a8b9-f69fbbdf5644" providerId="ADAL" clId="{F2571258-CC26-4B12-B833-E4A17A5DE9C1}" dt="2024-01-17T13:13:51.944" v="207" actId="478"/>
          <ac:picMkLst>
            <pc:docMk/>
            <pc:sldMk cId="3601296254" sldId="258"/>
            <ac:picMk id="5" creationId="{C5706363-1636-518E-BB85-E1A44A7D338D}"/>
          </ac:picMkLst>
        </pc:picChg>
      </pc:sldChg>
      <pc:sldChg chg="addSp delSp modSp del mod modClrScheme chgLayout">
        <pc:chgData name="Gabriele Zanoletti" userId="fc6666fa-3441-4ddc-a8b9-f69fbbdf5644" providerId="ADAL" clId="{F2571258-CC26-4B12-B833-E4A17A5DE9C1}" dt="2024-01-23T14:59:24.641" v="726" actId="47"/>
        <pc:sldMkLst>
          <pc:docMk/>
          <pc:sldMk cId="1625672892" sldId="259"/>
        </pc:sldMkLst>
        <pc:spChg chg="mod ord">
          <ac:chgData name="Gabriele Zanoletti" userId="fc6666fa-3441-4ddc-a8b9-f69fbbdf5644" providerId="ADAL" clId="{F2571258-CC26-4B12-B833-E4A17A5DE9C1}" dt="2024-01-23T13:20:02.969" v="214" actId="700"/>
          <ac:spMkLst>
            <pc:docMk/>
            <pc:sldMk cId="1625672892" sldId="259"/>
            <ac:spMk id="2" creationId="{96B142A3-3E18-4302-85FC-39EF0216B791}"/>
          </ac:spMkLst>
        </pc:spChg>
        <pc:spChg chg="add del mod">
          <ac:chgData name="Gabriele Zanoletti" userId="fc6666fa-3441-4ddc-a8b9-f69fbbdf5644" providerId="ADAL" clId="{F2571258-CC26-4B12-B833-E4A17A5DE9C1}" dt="2024-01-23T13:19:55.077" v="212" actId="6264"/>
          <ac:spMkLst>
            <pc:docMk/>
            <pc:sldMk cId="1625672892" sldId="259"/>
            <ac:spMk id="3" creationId="{F1D2BAC8-AE0D-8A57-E287-FCB315CAB047}"/>
          </ac:spMkLst>
        </pc:spChg>
        <pc:spChg chg="add del mod">
          <ac:chgData name="Gabriele Zanoletti" userId="fc6666fa-3441-4ddc-a8b9-f69fbbdf5644" providerId="ADAL" clId="{F2571258-CC26-4B12-B833-E4A17A5DE9C1}" dt="2024-01-23T13:19:55.077" v="212" actId="6264"/>
          <ac:spMkLst>
            <pc:docMk/>
            <pc:sldMk cId="1625672892" sldId="259"/>
            <ac:spMk id="4" creationId="{A0D18D2A-C1DD-DA0F-564E-F8804357133C}"/>
          </ac:spMkLst>
        </pc:spChg>
        <pc:spChg chg="add del mod">
          <ac:chgData name="Gabriele Zanoletti" userId="fc6666fa-3441-4ddc-a8b9-f69fbbdf5644" providerId="ADAL" clId="{F2571258-CC26-4B12-B833-E4A17A5DE9C1}" dt="2024-01-23T13:19:55.077" v="212" actId="6264"/>
          <ac:spMkLst>
            <pc:docMk/>
            <pc:sldMk cId="1625672892" sldId="259"/>
            <ac:spMk id="5" creationId="{69963E77-9A2A-98FB-FC0D-E903087FC6E8}"/>
          </ac:spMkLst>
        </pc:spChg>
        <pc:spChg chg="add del mod ord">
          <ac:chgData name="Gabriele Zanoletti" userId="fc6666fa-3441-4ddc-a8b9-f69fbbdf5644" providerId="ADAL" clId="{F2571258-CC26-4B12-B833-E4A17A5DE9C1}" dt="2024-01-23T13:20:02.969" v="214" actId="700"/>
          <ac:spMkLst>
            <pc:docMk/>
            <pc:sldMk cId="1625672892" sldId="259"/>
            <ac:spMk id="6" creationId="{D8967F99-6DEC-9996-DC6B-18094388496D}"/>
          </ac:spMkLst>
        </pc:spChg>
        <pc:spChg chg="add del mod ord">
          <ac:chgData name="Gabriele Zanoletti" userId="fc6666fa-3441-4ddc-a8b9-f69fbbdf5644" providerId="ADAL" clId="{F2571258-CC26-4B12-B833-E4A17A5DE9C1}" dt="2024-01-23T13:20:02.969" v="214" actId="700"/>
          <ac:spMkLst>
            <pc:docMk/>
            <pc:sldMk cId="1625672892" sldId="259"/>
            <ac:spMk id="7" creationId="{0E69FE2D-190B-9CC7-715B-C4F1131F57FD}"/>
          </ac:spMkLst>
        </pc:spChg>
        <pc:spChg chg="mod ord">
          <ac:chgData name="Gabriele Zanoletti" userId="fc6666fa-3441-4ddc-a8b9-f69fbbdf5644" providerId="ADAL" clId="{F2571258-CC26-4B12-B833-E4A17A5DE9C1}" dt="2024-01-23T13:20:02.969" v="214" actId="700"/>
          <ac:spMkLst>
            <pc:docMk/>
            <pc:sldMk cId="1625672892" sldId="259"/>
            <ac:spMk id="10" creationId="{5A82A501-62D7-BA88-FCEA-42DF25F31526}"/>
          </ac:spMkLst>
        </pc:spChg>
        <pc:picChg chg="mod ord">
          <ac:chgData name="Gabriele Zanoletti" userId="fc6666fa-3441-4ddc-a8b9-f69fbbdf5644" providerId="ADAL" clId="{F2571258-CC26-4B12-B833-E4A17A5DE9C1}" dt="2024-01-23T13:20:02.969" v="214" actId="700"/>
          <ac:picMkLst>
            <pc:docMk/>
            <pc:sldMk cId="1625672892" sldId="259"/>
            <ac:picMk id="16" creationId="{69C012A2-2CBB-CC32-EDF2-0B6DFA6D9245}"/>
          </ac:picMkLst>
        </pc:picChg>
      </pc:sldChg>
      <pc:sldChg chg="modSp mod">
        <pc:chgData name="Gabriele Zanoletti" userId="fc6666fa-3441-4ddc-a8b9-f69fbbdf5644" providerId="ADAL" clId="{F2571258-CC26-4B12-B833-E4A17A5DE9C1}" dt="2024-01-15T14:05:10.104" v="53" actId="20577"/>
        <pc:sldMkLst>
          <pc:docMk/>
          <pc:sldMk cId="913701754" sldId="267"/>
        </pc:sldMkLst>
        <pc:spChg chg="mod">
          <ac:chgData name="Gabriele Zanoletti" userId="fc6666fa-3441-4ddc-a8b9-f69fbbdf5644" providerId="ADAL" clId="{F2571258-CC26-4B12-B833-E4A17A5DE9C1}" dt="2024-01-15T14:02:44.098" v="4" actId="27636"/>
          <ac:spMkLst>
            <pc:docMk/>
            <pc:sldMk cId="913701754" sldId="267"/>
            <ac:spMk id="2" creationId="{B40086CB-E149-4C33-F1BF-6132B0867F59}"/>
          </ac:spMkLst>
        </pc:spChg>
        <pc:spChg chg="mod">
          <ac:chgData name="Gabriele Zanoletti" userId="fc6666fa-3441-4ddc-a8b9-f69fbbdf5644" providerId="ADAL" clId="{F2571258-CC26-4B12-B833-E4A17A5DE9C1}" dt="2024-01-15T14:05:10.104" v="53" actId="20577"/>
          <ac:spMkLst>
            <pc:docMk/>
            <pc:sldMk cId="913701754" sldId="267"/>
            <ac:spMk id="3" creationId="{8D39D37D-9355-8216-502B-248CE6B8D7D6}"/>
          </ac:spMkLst>
        </pc:spChg>
      </pc:sldChg>
      <pc:sldChg chg="del">
        <pc:chgData name="Gabriele Zanoletti" userId="fc6666fa-3441-4ddc-a8b9-f69fbbdf5644" providerId="ADAL" clId="{F2571258-CC26-4B12-B833-E4A17A5DE9C1}" dt="2024-01-23T14:59:32.074" v="739" actId="47"/>
        <pc:sldMkLst>
          <pc:docMk/>
          <pc:sldMk cId="3141277617" sldId="270"/>
        </pc:sldMkLst>
      </pc:sldChg>
      <pc:sldChg chg="del">
        <pc:chgData name="Gabriele Zanoletti" userId="fc6666fa-3441-4ddc-a8b9-f69fbbdf5644" providerId="ADAL" clId="{F2571258-CC26-4B12-B833-E4A17A5DE9C1}" dt="2024-01-23T14:59:25.018" v="727" actId="47"/>
        <pc:sldMkLst>
          <pc:docMk/>
          <pc:sldMk cId="1589680712" sldId="271"/>
        </pc:sldMkLst>
      </pc:sldChg>
      <pc:sldChg chg="del">
        <pc:chgData name="Gabriele Zanoletti" userId="fc6666fa-3441-4ddc-a8b9-f69fbbdf5644" providerId="ADAL" clId="{F2571258-CC26-4B12-B833-E4A17A5DE9C1}" dt="2024-01-23T14:59:25.348" v="728" actId="47"/>
        <pc:sldMkLst>
          <pc:docMk/>
          <pc:sldMk cId="2779813759" sldId="272"/>
        </pc:sldMkLst>
      </pc:sldChg>
      <pc:sldChg chg="del">
        <pc:chgData name="Gabriele Zanoletti" userId="fc6666fa-3441-4ddc-a8b9-f69fbbdf5644" providerId="ADAL" clId="{F2571258-CC26-4B12-B833-E4A17A5DE9C1}" dt="2024-01-23T14:59:25.757" v="729" actId="47"/>
        <pc:sldMkLst>
          <pc:docMk/>
          <pc:sldMk cId="1135736597" sldId="273"/>
        </pc:sldMkLst>
      </pc:sldChg>
      <pc:sldChg chg="del">
        <pc:chgData name="Gabriele Zanoletti" userId="fc6666fa-3441-4ddc-a8b9-f69fbbdf5644" providerId="ADAL" clId="{F2571258-CC26-4B12-B833-E4A17A5DE9C1}" dt="2024-01-23T14:59:33.832" v="740" actId="47"/>
        <pc:sldMkLst>
          <pc:docMk/>
          <pc:sldMk cId="2968188460" sldId="274"/>
        </pc:sldMkLst>
      </pc:sldChg>
      <pc:sldChg chg="addSp delSp modSp del mod chgLayout">
        <pc:chgData name="Gabriele Zanoletti" userId="fc6666fa-3441-4ddc-a8b9-f69fbbdf5644" providerId="ADAL" clId="{F2571258-CC26-4B12-B833-E4A17A5DE9C1}" dt="2024-01-23T14:59:23.744" v="724" actId="47"/>
        <pc:sldMkLst>
          <pc:docMk/>
          <pc:sldMk cId="2990945037" sldId="276"/>
        </pc:sldMkLst>
        <pc:spChg chg="mod or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2" creationId="{EE1181EE-E83B-E2B4-A8A2-9BD79BA62577}"/>
          </ac:spMkLst>
        </pc:spChg>
        <pc:spChg chg="mod or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3" creationId="{07C4FEEC-C7A9-340B-8522-6845D3F4141D}"/>
          </ac:spMkLst>
        </pc:spChg>
        <pc:spChg chg="mod or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4" creationId="{E5A0E81E-6D21-B61E-5631-2BEC2A222BBF}"/>
          </ac:spMkLst>
        </pc:spChg>
        <pc:spChg chg="mod or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5" creationId="{135546F5-012E-B2E0-37D5-9122D8A67012}"/>
          </ac:spMkLst>
        </pc:spChg>
        <pc:spChg chg="add del mo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6" creationId="{00C0F838-FC25-4449-7965-8E8D4F4E98A1}"/>
          </ac:spMkLst>
        </pc:spChg>
        <pc:spChg chg="add del mo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7" creationId="{44615AB5-D69C-752C-C63F-E3BE1B308AF2}"/>
          </ac:spMkLst>
        </pc:spChg>
        <pc:spChg chg="add del mo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10" creationId="{C0DC1E7A-11AE-3B64-5A93-BD504C1504C3}"/>
          </ac:spMkLst>
        </pc:spChg>
        <pc:spChg chg="add del mo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11" creationId="{A0503497-A008-0418-0450-3B80952C3726}"/>
          </ac:spMkLst>
        </pc:spChg>
        <pc:spChg chg="add del mo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12" creationId="{FBBECACD-0F3A-3DE3-3D9A-8E769EC7F843}"/>
          </ac:spMkLst>
        </pc:spChg>
        <pc:picChg chg="mod ord">
          <ac:chgData name="Gabriele Zanoletti" userId="fc6666fa-3441-4ddc-a8b9-f69fbbdf5644" providerId="ADAL" clId="{F2571258-CC26-4B12-B833-E4A17A5DE9C1}" dt="2024-01-23T13:19:49.465" v="210" actId="6264"/>
          <ac:picMkLst>
            <pc:docMk/>
            <pc:sldMk cId="2990945037" sldId="276"/>
            <ac:picMk id="8" creationId="{8B5AF5C9-B484-5967-A46F-F80097891166}"/>
          </ac:picMkLst>
        </pc:picChg>
      </pc:sldChg>
      <pc:sldChg chg="del">
        <pc:chgData name="Gabriele Zanoletti" userId="fc6666fa-3441-4ddc-a8b9-f69fbbdf5644" providerId="ADAL" clId="{F2571258-CC26-4B12-B833-E4A17A5DE9C1}" dt="2024-01-23T14:59:24.169" v="725" actId="47"/>
        <pc:sldMkLst>
          <pc:docMk/>
          <pc:sldMk cId="4189800304" sldId="278"/>
        </pc:sldMkLst>
      </pc:sldChg>
      <pc:sldChg chg="del">
        <pc:chgData name="Gabriele Zanoletti" userId="fc6666fa-3441-4ddc-a8b9-f69fbbdf5644" providerId="ADAL" clId="{F2571258-CC26-4B12-B833-E4A17A5DE9C1}" dt="2024-01-23T14:59:26.087" v="730" actId="47"/>
        <pc:sldMkLst>
          <pc:docMk/>
          <pc:sldMk cId="304618885" sldId="279"/>
        </pc:sldMkLst>
      </pc:sldChg>
      <pc:sldChg chg="del">
        <pc:chgData name="Gabriele Zanoletti" userId="fc6666fa-3441-4ddc-a8b9-f69fbbdf5644" providerId="ADAL" clId="{F2571258-CC26-4B12-B833-E4A17A5DE9C1}" dt="2024-01-23T14:59:31.477" v="738" actId="47"/>
        <pc:sldMkLst>
          <pc:docMk/>
          <pc:sldMk cId="3605496133" sldId="280"/>
        </pc:sldMkLst>
      </pc:sldChg>
      <pc:sldChg chg="del">
        <pc:chgData name="Gabriele Zanoletti" userId="fc6666fa-3441-4ddc-a8b9-f69fbbdf5644" providerId="ADAL" clId="{F2571258-CC26-4B12-B833-E4A17A5DE9C1}" dt="2024-01-23T14:59:22.266" v="723" actId="47"/>
        <pc:sldMkLst>
          <pc:docMk/>
          <pc:sldMk cId="335704528" sldId="281"/>
        </pc:sldMkLst>
      </pc:sldChg>
      <pc:sldChg chg="del">
        <pc:chgData name="Gabriele Zanoletti" userId="fc6666fa-3441-4ddc-a8b9-f69fbbdf5644" providerId="ADAL" clId="{F2571258-CC26-4B12-B833-E4A17A5DE9C1}" dt="2024-01-23T14:59:30.708" v="737" actId="47"/>
        <pc:sldMkLst>
          <pc:docMk/>
          <pc:sldMk cId="2523226674" sldId="282"/>
        </pc:sldMkLst>
      </pc:sldChg>
      <pc:sldChg chg="del">
        <pc:chgData name="Gabriele Zanoletti" userId="fc6666fa-3441-4ddc-a8b9-f69fbbdf5644" providerId="ADAL" clId="{F2571258-CC26-4B12-B833-E4A17A5DE9C1}" dt="2024-01-23T14:59:28.491" v="732" actId="47"/>
        <pc:sldMkLst>
          <pc:docMk/>
          <pc:sldMk cId="2709073556" sldId="283"/>
        </pc:sldMkLst>
      </pc:sldChg>
      <pc:sldChg chg="del">
        <pc:chgData name="Gabriele Zanoletti" userId="fc6666fa-3441-4ddc-a8b9-f69fbbdf5644" providerId="ADAL" clId="{F2571258-CC26-4B12-B833-E4A17A5DE9C1}" dt="2024-01-23T14:59:30.017" v="735" actId="47"/>
        <pc:sldMkLst>
          <pc:docMk/>
          <pc:sldMk cId="3067180519" sldId="284"/>
        </pc:sldMkLst>
      </pc:sldChg>
      <pc:sldChg chg="del">
        <pc:chgData name="Gabriele Zanoletti" userId="fc6666fa-3441-4ddc-a8b9-f69fbbdf5644" providerId="ADAL" clId="{F2571258-CC26-4B12-B833-E4A17A5DE9C1}" dt="2024-01-23T14:59:30.331" v="736" actId="47"/>
        <pc:sldMkLst>
          <pc:docMk/>
          <pc:sldMk cId="4096381590" sldId="285"/>
        </pc:sldMkLst>
      </pc:sldChg>
      <pc:sldChg chg="del">
        <pc:chgData name="Gabriele Zanoletti" userId="fc6666fa-3441-4ddc-a8b9-f69fbbdf5644" providerId="ADAL" clId="{F2571258-CC26-4B12-B833-E4A17A5DE9C1}" dt="2024-01-23T14:59:29.308" v="733" actId="47"/>
        <pc:sldMkLst>
          <pc:docMk/>
          <pc:sldMk cId="4187071354" sldId="287"/>
        </pc:sldMkLst>
      </pc:sldChg>
      <pc:sldChg chg="del">
        <pc:chgData name="Gabriele Zanoletti" userId="fc6666fa-3441-4ddc-a8b9-f69fbbdf5644" providerId="ADAL" clId="{F2571258-CC26-4B12-B833-E4A17A5DE9C1}" dt="2024-01-23T14:59:29.435" v="734" actId="47"/>
        <pc:sldMkLst>
          <pc:docMk/>
          <pc:sldMk cId="1947591369" sldId="288"/>
        </pc:sldMkLst>
      </pc:sldChg>
      <pc:sldChg chg="del">
        <pc:chgData name="Gabriele Zanoletti" userId="fc6666fa-3441-4ddc-a8b9-f69fbbdf5644" providerId="ADAL" clId="{F2571258-CC26-4B12-B833-E4A17A5DE9C1}" dt="2024-01-23T14:59:27.346" v="731" actId="47"/>
        <pc:sldMkLst>
          <pc:docMk/>
          <pc:sldMk cId="1323570930" sldId="289"/>
        </pc:sldMkLst>
      </pc:sldChg>
      <pc:sldChg chg="del">
        <pc:chgData name="Gabriele Zanoletti" userId="fc6666fa-3441-4ddc-a8b9-f69fbbdf5644" providerId="ADAL" clId="{F2571258-CC26-4B12-B833-E4A17A5DE9C1}" dt="2024-01-23T14:59:54.109" v="749" actId="47"/>
        <pc:sldMkLst>
          <pc:docMk/>
          <pc:sldMk cId="102636184" sldId="290"/>
        </pc:sldMkLst>
      </pc:sldChg>
      <pc:sldChg chg="addSp delSp modSp new mod">
        <pc:chgData name="Gabriele Zanoletti" userId="fc6666fa-3441-4ddc-a8b9-f69fbbdf5644" providerId="ADAL" clId="{F2571258-CC26-4B12-B833-E4A17A5DE9C1}" dt="2024-01-24T07:58:16.802" v="3151" actId="20577"/>
        <pc:sldMkLst>
          <pc:docMk/>
          <pc:sldMk cId="994454846" sldId="291"/>
        </pc:sldMkLst>
        <pc:spChg chg="mod">
          <ac:chgData name="Gabriele Zanoletti" userId="fc6666fa-3441-4ddc-a8b9-f69fbbdf5644" providerId="ADAL" clId="{F2571258-CC26-4B12-B833-E4A17A5DE9C1}" dt="2024-01-23T15:02:26.341" v="843" actId="20577"/>
          <ac:spMkLst>
            <pc:docMk/>
            <pc:sldMk cId="994454846" sldId="291"/>
            <ac:spMk id="2" creationId="{51BBF078-C8A6-B19B-5A86-1388E178168E}"/>
          </ac:spMkLst>
        </pc:spChg>
        <pc:spChg chg="add mod">
          <ac:chgData name="Gabriele Zanoletti" userId="fc6666fa-3441-4ddc-a8b9-f69fbbdf5644" providerId="ADAL" clId="{F2571258-CC26-4B12-B833-E4A17A5DE9C1}" dt="2024-01-24T07:58:16.802" v="3151" actId="20577"/>
          <ac:spMkLst>
            <pc:docMk/>
            <pc:sldMk cId="994454846" sldId="291"/>
            <ac:spMk id="9" creationId="{384C8E91-B72A-D715-878D-3115E7D21AE9}"/>
          </ac:spMkLst>
        </pc:spChg>
        <pc:picChg chg="add del mod">
          <ac:chgData name="Gabriele Zanoletti" userId="fc6666fa-3441-4ddc-a8b9-f69fbbdf5644" providerId="ADAL" clId="{F2571258-CC26-4B12-B833-E4A17A5DE9C1}" dt="2024-01-23T13:21:11.644" v="221" actId="478"/>
          <ac:picMkLst>
            <pc:docMk/>
            <pc:sldMk cId="994454846" sldId="291"/>
            <ac:picMk id="6" creationId="{ADB86BC4-626F-4932-295C-10AFE6FFDA36}"/>
          </ac:picMkLst>
        </pc:picChg>
        <pc:picChg chg="add mod">
          <ac:chgData name="Gabriele Zanoletti" userId="fc6666fa-3441-4ddc-a8b9-f69fbbdf5644" providerId="ADAL" clId="{F2571258-CC26-4B12-B833-E4A17A5DE9C1}" dt="2024-01-23T13:24:37.088" v="228" actId="1076"/>
          <ac:picMkLst>
            <pc:docMk/>
            <pc:sldMk cId="994454846" sldId="291"/>
            <ac:picMk id="8" creationId="{7979D102-15DF-A596-B76A-2A979867BF3B}"/>
          </ac:picMkLst>
        </pc:picChg>
      </pc:sldChg>
      <pc:sldChg chg="new del">
        <pc:chgData name="Gabriele Zanoletti" userId="fc6666fa-3441-4ddc-a8b9-f69fbbdf5644" providerId="ADAL" clId="{F2571258-CC26-4B12-B833-E4A17A5DE9C1}" dt="2024-01-23T13:20:55.594" v="216" actId="47"/>
        <pc:sldMkLst>
          <pc:docMk/>
          <pc:sldMk cId="2908727478" sldId="291"/>
        </pc:sldMkLst>
      </pc:sldChg>
      <pc:sldChg chg="new del">
        <pc:chgData name="Gabriele Zanoletti" userId="fc6666fa-3441-4ddc-a8b9-f69fbbdf5644" providerId="ADAL" clId="{F2571258-CC26-4B12-B833-E4A17A5DE9C1}" dt="2024-01-23T13:26:15.867" v="260" actId="47"/>
        <pc:sldMkLst>
          <pc:docMk/>
          <pc:sldMk cId="763350070" sldId="292"/>
        </pc:sldMkLst>
      </pc:sldChg>
      <pc:sldChg chg="modSp add del mod">
        <pc:chgData name="Gabriele Zanoletti" userId="fc6666fa-3441-4ddc-a8b9-f69fbbdf5644" providerId="ADAL" clId="{F2571258-CC26-4B12-B833-E4A17A5DE9C1}" dt="2024-01-23T13:26:39.494" v="264"/>
        <pc:sldMkLst>
          <pc:docMk/>
          <pc:sldMk cId="2789190832" sldId="292"/>
        </pc:sldMkLst>
        <pc:spChg chg="mod">
          <ac:chgData name="Gabriele Zanoletti" userId="fc6666fa-3441-4ddc-a8b9-f69fbbdf5644" providerId="ADAL" clId="{F2571258-CC26-4B12-B833-E4A17A5DE9C1}" dt="2024-01-23T13:26:38.803" v="263" actId="20577"/>
          <ac:spMkLst>
            <pc:docMk/>
            <pc:sldMk cId="2789190832" sldId="292"/>
            <ac:spMk id="2" creationId="{51BBF078-C8A6-B19B-5A86-1388E178168E}"/>
          </ac:spMkLst>
        </pc:spChg>
      </pc:sldChg>
      <pc:sldChg chg="addSp delSp modSp add mod">
        <pc:chgData name="Gabriele Zanoletti" userId="fc6666fa-3441-4ddc-a8b9-f69fbbdf5644" providerId="ADAL" clId="{F2571258-CC26-4B12-B833-E4A17A5DE9C1}" dt="2024-01-24T07:58:41.593" v="3158" actId="20577"/>
        <pc:sldMkLst>
          <pc:docMk/>
          <pc:sldMk cId="3241623441" sldId="292"/>
        </pc:sldMkLst>
        <pc:spChg chg="mod">
          <ac:chgData name="Gabriele Zanoletti" userId="fc6666fa-3441-4ddc-a8b9-f69fbbdf5644" providerId="ADAL" clId="{F2571258-CC26-4B12-B833-E4A17A5DE9C1}" dt="2024-01-23T15:01:12.101" v="803" actId="21"/>
          <ac:spMkLst>
            <pc:docMk/>
            <pc:sldMk cId="3241623441" sldId="292"/>
            <ac:spMk id="2" creationId="{51BBF078-C8A6-B19B-5A86-1388E178168E}"/>
          </ac:spMkLst>
        </pc:spChg>
        <pc:spChg chg="mod">
          <ac:chgData name="Gabriele Zanoletti" userId="fc6666fa-3441-4ddc-a8b9-f69fbbdf5644" providerId="ADAL" clId="{F2571258-CC26-4B12-B833-E4A17A5DE9C1}" dt="2024-01-24T07:58:41.593" v="3158" actId="20577"/>
          <ac:spMkLst>
            <pc:docMk/>
            <pc:sldMk cId="3241623441" sldId="292"/>
            <ac:spMk id="9" creationId="{384C8E91-B72A-D715-878D-3115E7D21AE9}"/>
          </ac:spMkLst>
        </pc:spChg>
        <pc:picChg chg="add mod">
          <ac:chgData name="Gabriele Zanoletti" userId="fc6666fa-3441-4ddc-a8b9-f69fbbdf5644" providerId="ADAL" clId="{F2571258-CC26-4B12-B833-E4A17A5DE9C1}" dt="2024-01-23T15:38:09.354" v="2376" actId="14100"/>
          <ac:picMkLst>
            <pc:docMk/>
            <pc:sldMk cId="3241623441" sldId="292"/>
            <ac:picMk id="6" creationId="{16354C2A-E074-390B-33AD-86D85A2DB81F}"/>
          </ac:picMkLst>
        </pc:picChg>
        <pc:picChg chg="del">
          <ac:chgData name="Gabriele Zanoletti" userId="fc6666fa-3441-4ddc-a8b9-f69fbbdf5644" providerId="ADAL" clId="{F2571258-CC26-4B12-B833-E4A17A5DE9C1}" dt="2024-01-23T13:26:44.023" v="266" actId="478"/>
          <ac:picMkLst>
            <pc:docMk/>
            <pc:sldMk cId="3241623441" sldId="292"/>
            <ac:picMk id="8" creationId="{7979D102-15DF-A596-B76A-2A979867BF3B}"/>
          </ac:picMkLst>
        </pc:picChg>
        <pc:picChg chg="add mod">
          <ac:chgData name="Gabriele Zanoletti" userId="fc6666fa-3441-4ddc-a8b9-f69fbbdf5644" providerId="ADAL" clId="{F2571258-CC26-4B12-B833-E4A17A5DE9C1}" dt="2024-01-23T15:38:09.354" v="2376" actId="14100"/>
          <ac:picMkLst>
            <pc:docMk/>
            <pc:sldMk cId="3241623441" sldId="292"/>
            <ac:picMk id="10" creationId="{D56DD99C-2B50-6333-E5D0-1ED41F398F93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08:00:11.454" v="3159" actId="20577"/>
        <pc:sldMkLst>
          <pc:docMk/>
          <pc:sldMk cId="692283471" sldId="293"/>
        </pc:sldMkLst>
        <pc:spChg chg="mod">
          <ac:chgData name="Gabriele Zanoletti" userId="fc6666fa-3441-4ddc-a8b9-f69fbbdf5644" providerId="ADAL" clId="{F2571258-CC26-4B12-B833-E4A17A5DE9C1}" dt="2024-01-23T15:02:00.085" v="826" actId="20577"/>
          <ac:spMkLst>
            <pc:docMk/>
            <pc:sldMk cId="692283471" sldId="293"/>
            <ac:spMk id="2" creationId="{51BBF078-C8A6-B19B-5A86-1388E178168E}"/>
          </ac:spMkLst>
        </pc:spChg>
        <pc:spChg chg="mod">
          <ac:chgData name="Gabriele Zanoletti" userId="fc6666fa-3441-4ddc-a8b9-f69fbbdf5644" providerId="ADAL" clId="{F2571258-CC26-4B12-B833-E4A17A5DE9C1}" dt="2024-01-24T08:00:11.454" v="3159" actId="20577"/>
          <ac:spMkLst>
            <pc:docMk/>
            <pc:sldMk cId="692283471" sldId="293"/>
            <ac:spMk id="9" creationId="{384C8E91-B72A-D715-878D-3115E7D21AE9}"/>
          </ac:spMkLst>
        </pc:spChg>
        <pc:picChg chg="del">
          <ac:chgData name="Gabriele Zanoletti" userId="fc6666fa-3441-4ddc-a8b9-f69fbbdf5644" providerId="ADAL" clId="{F2571258-CC26-4B12-B833-E4A17A5DE9C1}" dt="2024-01-23T13:28:02.003" v="283" actId="478"/>
          <ac:picMkLst>
            <pc:docMk/>
            <pc:sldMk cId="692283471" sldId="293"/>
            <ac:picMk id="6" creationId="{16354C2A-E074-390B-33AD-86D85A2DB81F}"/>
          </ac:picMkLst>
        </pc:picChg>
        <pc:picChg chg="add del mod">
          <ac:chgData name="Gabriele Zanoletti" userId="fc6666fa-3441-4ddc-a8b9-f69fbbdf5644" providerId="ADAL" clId="{F2571258-CC26-4B12-B833-E4A17A5DE9C1}" dt="2024-01-23T13:28:12.673" v="288" actId="478"/>
          <ac:picMkLst>
            <pc:docMk/>
            <pc:sldMk cId="692283471" sldId="293"/>
            <ac:picMk id="7" creationId="{ED27DF90-4BE1-942C-67EE-62162A7710F5}"/>
          </ac:picMkLst>
        </pc:picChg>
        <pc:picChg chg="del">
          <ac:chgData name="Gabriele Zanoletti" userId="fc6666fa-3441-4ddc-a8b9-f69fbbdf5644" providerId="ADAL" clId="{F2571258-CC26-4B12-B833-E4A17A5DE9C1}" dt="2024-01-23T13:28:02.539" v="284" actId="478"/>
          <ac:picMkLst>
            <pc:docMk/>
            <pc:sldMk cId="692283471" sldId="293"/>
            <ac:picMk id="10" creationId="{D56DD99C-2B50-6333-E5D0-1ED41F398F93}"/>
          </ac:picMkLst>
        </pc:picChg>
        <pc:picChg chg="add del mod">
          <ac:chgData name="Gabriele Zanoletti" userId="fc6666fa-3441-4ddc-a8b9-f69fbbdf5644" providerId="ADAL" clId="{F2571258-CC26-4B12-B833-E4A17A5DE9C1}" dt="2024-01-23T13:28:11.718" v="287" actId="478"/>
          <ac:picMkLst>
            <pc:docMk/>
            <pc:sldMk cId="692283471" sldId="293"/>
            <ac:picMk id="11" creationId="{B33AD786-FA8B-8FA8-C1DA-0A315BE00108}"/>
          </ac:picMkLst>
        </pc:picChg>
        <pc:picChg chg="add mod">
          <ac:chgData name="Gabriele Zanoletti" userId="fc6666fa-3441-4ddc-a8b9-f69fbbdf5644" providerId="ADAL" clId="{F2571258-CC26-4B12-B833-E4A17A5DE9C1}" dt="2024-01-23T13:31:28.105" v="294" actId="1076"/>
          <ac:picMkLst>
            <pc:docMk/>
            <pc:sldMk cId="692283471" sldId="293"/>
            <ac:picMk id="13" creationId="{273DA1F4-A7AC-1500-EAC8-A8167DB5B019}"/>
          </ac:picMkLst>
        </pc:picChg>
        <pc:picChg chg="add mod">
          <ac:chgData name="Gabriele Zanoletti" userId="fc6666fa-3441-4ddc-a8b9-f69fbbdf5644" providerId="ADAL" clId="{F2571258-CC26-4B12-B833-E4A17A5DE9C1}" dt="2024-01-23T13:31:35.976" v="295" actId="1076"/>
          <ac:picMkLst>
            <pc:docMk/>
            <pc:sldMk cId="692283471" sldId="293"/>
            <ac:picMk id="15" creationId="{68D81A0E-F544-D4D3-AEF2-99543245CF4B}"/>
          </ac:picMkLst>
        </pc:picChg>
      </pc:sldChg>
      <pc:sldChg chg="addSp delSp modSp add mod modClrScheme chgLayout">
        <pc:chgData name="Gabriele Zanoletti" userId="fc6666fa-3441-4ddc-a8b9-f69fbbdf5644" providerId="ADAL" clId="{F2571258-CC26-4B12-B833-E4A17A5DE9C1}" dt="2024-01-24T08:24:47.197" v="4063" actId="255"/>
        <pc:sldMkLst>
          <pc:docMk/>
          <pc:sldMk cId="2858633819" sldId="294"/>
        </pc:sldMkLst>
        <pc:spChg chg="mod ord">
          <ac:chgData name="Gabriele Zanoletti" userId="fc6666fa-3441-4ddc-a8b9-f69fbbdf5644" providerId="ADAL" clId="{F2571258-CC26-4B12-B833-E4A17A5DE9C1}" dt="2024-01-23T15:44:12.659" v="2621" actId="700"/>
          <ac:spMkLst>
            <pc:docMk/>
            <pc:sldMk cId="2858633819" sldId="294"/>
            <ac:spMk id="2" creationId="{51BBF078-C8A6-B19B-5A86-1388E178168E}"/>
          </ac:spMkLst>
        </pc:spChg>
        <pc:spChg chg="mod ord">
          <ac:chgData name="Gabriele Zanoletti" userId="fc6666fa-3441-4ddc-a8b9-f69fbbdf5644" providerId="ADAL" clId="{F2571258-CC26-4B12-B833-E4A17A5DE9C1}" dt="2024-01-23T15:44:12.659" v="2621" actId="700"/>
          <ac:spMkLst>
            <pc:docMk/>
            <pc:sldMk cId="2858633819" sldId="294"/>
            <ac:spMk id="3" creationId="{C04D15B5-7960-56F9-327A-2187E8DB5B91}"/>
          </ac:spMkLst>
        </pc:spChg>
        <pc:spChg chg="mod ord">
          <ac:chgData name="Gabriele Zanoletti" userId="fc6666fa-3441-4ddc-a8b9-f69fbbdf5644" providerId="ADAL" clId="{F2571258-CC26-4B12-B833-E4A17A5DE9C1}" dt="2024-01-23T15:44:12.659" v="2621" actId="700"/>
          <ac:spMkLst>
            <pc:docMk/>
            <pc:sldMk cId="2858633819" sldId="294"/>
            <ac:spMk id="4" creationId="{AA22CF49-01A6-8083-3BF5-A087AFE4980A}"/>
          </ac:spMkLst>
        </pc:spChg>
        <pc:spChg chg="add mod ord">
          <ac:chgData name="Gabriele Zanoletti" userId="fc6666fa-3441-4ddc-a8b9-f69fbbdf5644" providerId="ADAL" clId="{F2571258-CC26-4B12-B833-E4A17A5DE9C1}" dt="2024-01-24T08:24:42.364" v="4062" actId="255"/>
          <ac:spMkLst>
            <pc:docMk/>
            <pc:sldMk cId="2858633819" sldId="294"/>
            <ac:spMk id="5" creationId="{07C10B25-52DB-6AE0-3DBC-9A996236C2B2}"/>
          </ac:spMkLst>
        </pc:spChg>
        <pc:spChg chg="add mod ord">
          <ac:chgData name="Gabriele Zanoletti" userId="fc6666fa-3441-4ddc-a8b9-f69fbbdf5644" providerId="ADAL" clId="{F2571258-CC26-4B12-B833-E4A17A5DE9C1}" dt="2024-01-24T08:24:47.197" v="4063" actId="255"/>
          <ac:spMkLst>
            <pc:docMk/>
            <pc:sldMk cId="2858633819" sldId="294"/>
            <ac:spMk id="7" creationId="{4CD401C1-C9E4-A15B-4244-04B575C68909}"/>
          </ac:spMkLst>
        </pc:spChg>
        <pc:spChg chg="del">
          <ac:chgData name="Gabriele Zanoletti" userId="fc6666fa-3441-4ddc-a8b9-f69fbbdf5644" providerId="ADAL" clId="{F2571258-CC26-4B12-B833-E4A17A5DE9C1}" dt="2024-01-23T15:44:46.707" v="2641" actId="478"/>
          <ac:spMkLst>
            <pc:docMk/>
            <pc:sldMk cId="2858633819" sldId="294"/>
            <ac:spMk id="9" creationId="{384C8E91-B72A-D715-878D-3115E7D21AE9}"/>
          </ac:spMkLst>
        </pc:spChg>
        <pc:spChg chg="add del">
          <ac:chgData name="Gabriele Zanoletti" userId="fc6666fa-3441-4ddc-a8b9-f69fbbdf5644" providerId="ADAL" clId="{F2571258-CC26-4B12-B833-E4A17A5DE9C1}" dt="2024-01-23T15:52:21.398" v="2879" actId="22"/>
          <ac:spMkLst>
            <pc:docMk/>
            <pc:sldMk cId="2858633819" sldId="294"/>
            <ac:spMk id="11" creationId="{665CB14D-993A-AF8F-1F51-41F9D33C7F56}"/>
          </ac:spMkLst>
        </pc:spChg>
        <pc:spChg chg="add del">
          <ac:chgData name="Gabriele Zanoletti" userId="fc6666fa-3441-4ddc-a8b9-f69fbbdf5644" providerId="ADAL" clId="{F2571258-CC26-4B12-B833-E4A17A5DE9C1}" dt="2024-01-23T15:52:22.370" v="2881" actId="22"/>
          <ac:spMkLst>
            <pc:docMk/>
            <pc:sldMk cId="2858633819" sldId="294"/>
            <ac:spMk id="13" creationId="{28D3A23E-5FE7-690B-FFC1-3017273DDB39}"/>
          </ac:spMkLst>
        </pc:spChg>
        <pc:picChg chg="add mod">
          <ac:chgData name="Gabriele Zanoletti" userId="fc6666fa-3441-4ddc-a8b9-f69fbbdf5644" providerId="ADAL" clId="{F2571258-CC26-4B12-B833-E4A17A5DE9C1}" dt="2024-01-24T08:03:27.647" v="3190" actId="1035"/>
          <ac:picMkLst>
            <pc:docMk/>
            <pc:sldMk cId="2858633819" sldId="294"/>
            <ac:picMk id="6" creationId="{6836B168-99CC-A640-D030-013E49A9CF3F}"/>
          </ac:picMkLst>
        </pc:picChg>
        <pc:picChg chg="add mod">
          <ac:chgData name="Gabriele Zanoletti" userId="fc6666fa-3441-4ddc-a8b9-f69fbbdf5644" providerId="ADAL" clId="{F2571258-CC26-4B12-B833-E4A17A5DE9C1}" dt="2024-01-24T08:03:27.647" v="3190" actId="1035"/>
          <ac:picMkLst>
            <pc:docMk/>
            <pc:sldMk cId="2858633819" sldId="294"/>
            <ac:picMk id="8" creationId="{0A43B661-CE5B-1DCF-094C-73004AD4591D}"/>
          </ac:picMkLst>
        </pc:picChg>
        <pc:picChg chg="del">
          <ac:chgData name="Gabriele Zanoletti" userId="fc6666fa-3441-4ddc-a8b9-f69fbbdf5644" providerId="ADAL" clId="{F2571258-CC26-4B12-B833-E4A17A5DE9C1}" dt="2024-01-23T13:32:24.345" v="298" actId="478"/>
          <ac:picMkLst>
            <pc:docMk/>
            <pc:sldMk cId="2858633819" sldId="294"/>
            <ac:picMk id="13" creationId="{273DA1F4-A7AC-1500-EAC8-A8167DB5B019}"/>
          </ac:picMkLst>
        </pc:picChg>
        <pc:picChg chg="del">
          <ac:chgData name="Gabriele Zanoletti" userId="fc6666fa-3441-4ddc-a8b9-f69fbbdf5644" providerId="ADAL" clId="{F2571258-CC26-4B12-B833-E4A17A5DE9C1}" dt="2024-01-23T13:32:23.968" v="297" actId="478"/>
          <ac:picMkLst>
            <pc:docMk/>
            <pc:sldMk cId="2858633819" sldId="294"/>
            <ac:picMk id="15" creationId="{68D81A0E-F544-D4D3-AEF2-99543245CF4B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08:18:25.847" v="3635" actId="1076"/>
        <pc:sldMkLst>
          <pc:docMk/>
          <pc:sldMk cId="3804523030" sldId="295"/>
        </pc:sldMkLst>
        <pc:spChg chg="mod">
          <ac:chgData name="Gabriele Zanoletti" userId="fc6666fa-3441-4ddc-a8b9-f69fbbdf5644" providerId="ADAL" clId="{F2571258-CC26-4B12-B833-E4A17A5DE9C1}" dt="2024-01-23T15:03:45.097" v="906" actId="6549"/>
          <ac:spMkLst>
            <pc:docMk/>
            <pc:sldMk cId="3804523030" sldId="295"/>
            <ac:spMk id="2" creationId="{51BBF078-C8A6-B19B-5A86-1388E178168E}"/>
          </ac:spMkLst>
        </pc:spChg>
        <pc:spChg chg="add del">
          <ac:chgData name="Gabriele Zanoletti" userId="fc6666fa-3441-4ddc-a8b9-f69fbbdf5644" providerId="ADAL" clId="{F2571258-CC26-4B12-B833-E4A17A5DE9C1}" dt="2024-01-24T08:05:11.242" v="3276" actId="22"/>
          <ac:spMkLst>
            <pc:docMk/>
            <pc:sldMk cId="3804523030" sldId="295"/>
            <ac:spMk id="6" creationId="{BE5A4D23-8FED-5A7A-E7F8-B352AF161017}"/>
          </ac:spMkLst>
        </pc:spChg>
        <pc:spChg chg="mod">
          <ac:chgData name="Gabriele Zanoletti" userId="fc6666fa-3441-4ddc-a8b9-f69fbbdf5644" providerId="ADAL" clId="{F2571258-CC26-4B12-B833-E4A17A5DE9C1}" dt="2024-01-24T08:18:01.285" v="3629" actId="14100"/>
          <ac:spMkLst>
            <pc:docMk/>
            <pc:sldMk cId="3804523030" sldId="295"/>
            <ac:spMk id="9" creationId="{384C8E91-B72A-D715-878D-3115E7D21AE9}"/>
          </ac:spMkLst>
        </pc:spChg>
        <pc:spChg chg="add mod">
          <ac:chgData name="Gabriele Zanoletti" userId="fc6666fa-3441-4ddc-a8b9-f69fbbdf5644" providerId="ADAL" clId="{F2571258-CC26-4B12-B833-E4A17A5DE9C1}" dt="2024-01-24T08:18:25.847" v="3635" actId="1076"/>
          <ac:spMkLst>
            <pc:docMk/>
            <pc:sldMk cId="3804523030" sldId="295"/>
            <ac:spMk id="10" creationId="{6959B758-C75A-2346-3F76-6CE74CFE608E}"/>
          </ac:spMkLst>
        </pc:spChg>
        <pc:picChg chg="del">
          <ac:chgData name="Gabriele Zanoletti" userId="fc6666fa-3441-4ddc-a8b9-f69fbbdf5644" providerId="ADAL" clId="{F2571258-CC26-4B12-B833-E4A17A5DE9C1}" dt="2024-01-23T13:35:01.849" v="308" actId="478"/>
          <ac:picMkLst>
            <pc:docMk/>
            <pc:sldMk cId="3804523030" sldId="295"/>
            <ac:picMk id="6" creationId="{6836B168-99CC-A640-D030-013E49A9CF3F}"/>
          </ac:picMkLst>
        </pc:picChg>
        <pc:picChg chg="add mod">
          <ac:chgData name="Gabriele Zanoletti" userId="fc6666fa-3441-4ddc-a8b9-f69fbbdf5644" providerId="ADAL" clId="{F2571258-CC26-4B12-B833-E4A17A5DE9C1}" dt="2024-01-24T08:18:21.918" v="3634" actId="1076"/>
          <ac:picMkLst>
            <pc:docMk/>
            <pc:sldMk cId="3804523030" sldId="295"/>
            <ac:picMk id="7" creationId="{7917CD73-C2A6-63A9-9E9D-B212F4DED292}"/>
          </ac:picMkLst>
        </pc:picChg>
        <pc:picChg chg="del">
          <ac:chgData name="Gabriele Zanoletti" userId="fc6666fa-3441-4ddc-a8b9-f69fbbdf5644" providerId="ADAL" clId="{F2571258-CC26-4B12-B833-E4A17A5DE9C1}" dt="2024-01-23T13:35:02.551" v="309" actId="478"/>
          <ac:picMkLst>
            <pc:docMk/>
            <pc:sldMk cId="3804523030" sldId="295"/>
            <ac:picMk id="8" creationId="{0A43B661-CE5B-1DCF-094C-73004AD4591D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08:30:47.290" v="4293" actId="12"/>
        <pc:sldMkLst>
          <pc:docMk/>
          <pc:sldMk cId="1570471128" sldId="296"/>
        </pc:sldMkLst>
        <pc:spChg chg="mod">
          <ac:chgData name="Gabriele Zanoletti" userId="fc6666fa-3441-4ddc-a8b9-f69fbbdf5644" providerId="ADAL" clId="{F2571258-CC26-4B12-B833-E4A17A5DE9C1}" dt="2024-01-23T15:04:13.746" v="957"/>
          <ac:spMkLst>
            <pc:docMk/>
            <pc:sldMk cId="1570471128" sldId="296"/>
            <ac:spMk id="2" creationId="{51BBF078-C8A6-B19B-5A86-1388E178168E}"/>
          </ac:spMkLst>
        </pc:spChg>
        <pc:spChg chg="mod">
          <ac:chgData name="Gabriele Zanoletti" userId="fc6666fa-3441-4ddc-a8b9-f69fbbdf5644" providerId="ADAL" clId="{F2571258-CC26-4B12-B833-E4A17A5DE9C1}" dt="2024-01-24T08:30:47.290" v="4293" actId="12"/>
          <ac:spMkLst>
            <pc:docMk/>
            <pc:sldMk cId="1570471128" sldId="296"/>
            <ac:spMk id="9" creationId="{384C8E91-B72A-D715-878D-3115E7D21AE9}"/>
          </ac:spMkLst>
        </pc:spChg>
        <pc:spChg chg="add mod">
          <ac:chgData name="Gabriele Zanoletti" userId="fc6666fa-3441-4ddc-a8b9-f69fbbdf5644" providerId="ADAL" clId="{F2571258-CC26-4B12-B833-E4A17A5DE9C1}" dt="2024-01-24T08:27:30.305" v="4201" actId="20577"/>
          <ac:spMkLst>
            <pc:docMk/>
            <pc:sldMk cId="1570471128" sldId="296"/>
            <ac:spMk id="12" creationId="{1790EBD9-6684-4CE0-92FE-08B9BBF9FF90}"/>
          </ac:spMkLst>
        </pc:spChg>
        <pc:picChg chg="del">
          <ac:chgData name="Gabriele Zanoletti" userId="fc6666fa-3441-4ddc-a8b9-f69fbbdf5644" providerId="ADAL" clId="{F2571258-CC26-4B12-B833-E4A17A5DE9C1}" dt="2024-01-23T13:37:02.538" v="319" actId="478"/>
          <ac:picMkLst>
            <pc:docMk/>
            <pc:sldMk cId="1570471128" sldId="296"/>
            <ac:picMk id="6" creationId="{6836B168-99CC-A640-D030-013E49A9CF3F}"/>
          </ac:picMkLst>
        </pc:picChg>
        <pc:picChg chg="add mod">
          <ac:chgData name="Gabriele Zanoletti" userId="fc6666fa-3441-4ddc-a8b9-f69fbbdf5644" providerId="ADAL" clId="{F2571258-CC26-4B12-B833-E4A17A5DE9C1}" dt="2024-01-23T13:38:52.450" v="395" actId="1036"/>
          <ac:picMkLst>
            <pc:docMk/>
            <pc:sldMk cId="1570471128" sldId="296"/>
            <ac:picMk id="7" creationId="{0C781AAE-78B4-B51E-F72A-646820477632}"/>
          </ac:picMkLst>
        </pc:picChg>
        <pc:picChg chg="del">
          <ac:chgData name="Gabriele Zanoletti" userId="fc6666fa-3441-4ddc-a8b9-f69fbbdf5644" providerId="ADAL" clId="{F2571258-CC26-4B12-B833-E4A17A5DE9C1}" dt="2024-01-23T13:37:04.113" v="320" actId="478"/>
          <ac:picMkLst>
            <pc:docMk/>
            <pc:sldMk cId="1570471128" sldId="296"/>
            <ac:picMk id="8" creationId="{0A43B661-CE5B-1DCF-094C-73004AD4591D}"/>
          </ac:picMkLst>
        </pc:picChg>
        <pc:picChg chg="add mod">
          <ac:chgData name="Gabriele Zanoletti" userId="fc6666fa-3441-4ddc-a8b9-f69fbbdf5644" providerId="ADAL" clId="{F2571258-CC26-4B12-B833-E4A17A5DE9C1}" dt="2024-01-23T13:38:56.071" v="405" actId="1036"/>
          <ac:picMkLst>
            <pc:docMk/>
            <pc:sldMk cId="1570471128" sldId="296"/>
            <ac:picMk id="11" creationId="{65A293A7-5841-4818-F26A-77B2743FB48E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08:35:27.035" v="4479" actId="207"/>
        <pc:sldMkLst>
          <pc:docMk/>
          <pc:sldMk cId="1604505303" sldId="297"/>
        </pc:sldMkLst>
        <pc:spChg chg="mod">
          <ac:chgData name="Gabriele Zanoletti" userId="fc6666fa-3441-4ddc-a8b9-f69fbbdf5644" providerId="ADAL" clId="{F2571258-CC26-4B12-B833-E4A17A5DE9C1}" dt="2024-01-23T15:04:20.939" v="976" actId="20577"/>
          <ac:spMkLst>
            <pc:docMk/>
            <pc:sldMk cId="1604505303" sldId="297"/>
            <ac:spMk id="2" creationId="{51BBF078-C8A6-B19B-5A86-1388E178168E}"/>
          </ac:spMkLst>
        </pc:spChg>
        <pc:spChg chg="mod">
          <ac:chgData name="Gabriele Zanoletti" userId="fc6666fa-3441-4ddc-a8b9-f69fbbdf5644" providerId="ADAL" clId="{F2571258-CC26-4B12-B833-E4A17A5DE9C1}" dt="2024-01-24T08:32:51.718" v="4391" actId="20577"/>
          <ac:spMkLst>
            <pc:docMk/>
            <pc:sldMk cId="1604505303" sldId="297"/>
            <ac:spMk id="9" creationId="{384C8E91-B72A-D715-878D-3115E7D21AE9}"/>
          </ac:spMkLst>
        </pc:spChg>
        <pc:spChg chg="mod">
          <ac:chgData name="Gabriele Zanoletti" userId="fc6666fa-3441-4ddc-a8b9-f69fbbdf5644" providerId="ADAL" clId="{F2571258-CC26-4B12-B833-E4A17A5DE9C1}" dt="2024-01-24T08:35:27.035" v="4479" actId="207"/>
          <ac:spMkLst>
            <pc:docMk/>
            <pc:sldMk cId="1604505303" sldId="297"/>
            <ac:spMk id="12" creationId="{1790EBD9-6684-4CE0-92FE-08B9BBF9FF90}"/>
          </ac:spMkLst>
        </pc:spChg>
        <pc:picChg chg="add mod">
          <ac:chgData name="Gabriele Zanoletti" userId="fc6666fa-3441-4ddc-a8b9-f69fbbdf5644" providerId="ADAL" clId="{F2571258-CC26-4B12-B833-E4A17A5DE9C1}" dt="2024-01-23T13:43:20.548" v="447" actId="1076"/>
          <ac:picMkLst>
            <pc:docMk/>
            <pc:sldMk cId="1604505303" sldId="297"/>
            <ac:picMk id="6" creationId="{8542FF78-9F7E-E9B9-A8C8-A7FAD4DA9004}"/>
          </ac:picMkLst>
        </pc:picChg>
        <pc:picChg chg="del">
          <ac:chgData name="Gabriele Zanoletti" userId="fc6666fa-3441-4ddc-a8b9-f69fbbdf5644" providerId="ADAL" clId="{F2571258-CC26-4B12-B833-E4A17A5DE9C1}" dt="2024-01-23T13:42:53.910" v="440" actId="478"/>
          <ac:picMkLst>
            <pc:docMk/>
            <pc:sldMk cId="1604505303" sldId="297"/>
            <ac:picMk id="7" creationId="{0C781AAE-78B4-B51E-F72A-646820477632}"/>
          </ac:picMkLst>
        </pc:picChg>
        <pc:picChg chg="add mod">
          <ac:chgData name="Gabriele Zanoletti" userId="fc6666fa-3441-4ddc-a8b9-f69fbbdf5644" providerId="ADAL" clId="{F2571258-CC26-4B12-B833-E4A17A5DE9C1}" dt="2024-01-23T13:43:25.863" v="448" actId="1076"/>
          <ac:picMkLst>
            <pc:docMk/>
            <pc:sldMk cId="1604505303" sldId="297"/>
            <ac:picMk id="10" creationId="{F5BA67BB-2B47-8273-94BB-70F246D45EDF}"/>
          </ac:picMkLst>
        </pc:picChg>
        <pc:picChg chg="del">
          <ac:chgData name="Gabriele Zanoletti" userId="fc6666fa-3441-4ddc-a8b9-f69fbbdf5644" providerId="ADAL" clId="{F2571258-CC26-4B12-B833-E4A17A5DE9C1}" dt="2024-01-23T13:42:55.172" v="441" actId="478"/>
          <ac:picMkLst>
            <pc:docMk/>
            <pc:sldMk cId="1604505303" sldId="297"/>
            <ac:picMk id="11" creationId="{65A293A7-5841-4818-F26A-77B2743FB48E}"/>
          </ac:picMkLst>
        </pc:picChg>
      </pc:sldChg>
      <pc:sldChg chg="add del">
        <pc:chgData name="Gabriele Zanoletti" userId="fc6666fa-3441-4ddc-a8b9-f69fbbdf5644" providerId="ADAL" clId="{F2571258-CC26-4B12-B833-E4A17A5DE9C1}" dt="2024-01-23T15:04:33.460" v="977" actId="47"/>
        <pc:sldMkLst>
          <pc:docMk/>
          <pc:sldMk cId="3468081537" sldId="298"/>
        </pc:sldMkLst>
      </pc:sldChg>
      <pc:sldChg chg="addSp delSp modSp new mod">
        <pc:chgData name="Gabriele Zanoletti" userId="fc6666fa-3441-4ddc-a8b9-f69fbbdf5644" providerId="ADAL" clId="{F2571258-CC26-4B12-B833-E4A17A5DE9C1}" dt="2024-01-24T09:15:11.324" v="6035" actId="20577"/>
        <pc:sldMkLst>
          <pc:docMk/>
          <pc:sldMk cId="3397797632" sldId="299"/>
        </pc:sldMkLst>
        <pc:spChg chg="mod">
          <ac:chgData name="Gabriele Zanoletti" userId="fc6666fa-3441-4ddc-a8b9-f69fbbdf5644" providerId="ADAL" clId="{F2571258-CC26-4B12-B833-E4A17A5DE9C1}" dt="2024-01-23T15:05:12.718" v="1024" actId="20577"/>
          <ac:spMkLst>
            <pc:docMk/>
            <pc:sldMk cId="3397797632" sldId="299"/>
            <ac:spMk id="2" creationId="{A32276C4-73BB-0578-40AB-D7DE7AEE228F}"/>
          </ac:spMkLst>
        </pc:spChg>
        <pc:spChg chg="add mod">
          <ac:chgData name="Gabriele Zanoletti" userId="fc6666fa-3441-4ddc-a8b9-f69fbbdf5644" providerId="ADAL" clId="{F2571258-CC26-4B12-B833-E4A17A5DE9C1}" dt="2024-01-24T09:15:11.324" v="6035" actId="20577"/>
          <ac:spMkLst>
            <pc:docMk/>
            <pc:sldMk cId="3397797632" sldId="299"/>
            <ac:spMk id="5" creationId="{7E12A5DC-027B-271D-6C1B-DBD206DFA5D2}"/>
          </ac:spMkLst>
        </pc:spChg>
        <pc:picChg chg="add del mod">
          <ac:chgData name="Gabriele Zanoletti" userId="fc6666fa-3441-4ddc-a8b9-f69fbbdf5644" providerId="ADAL" clId="{F2571258-CC26-4B12-B833-E4A17A5DE9C1}" dt="2024-01-24T08:48:33.175" v="5193" actId="478"/>
          <ac:picMkLst>
            <pc:docMk/>
            <pc:sldMk cId="3397797632" sldId="299"/>
            <ac:picMk id="6" creationId="{C542129C-A244-C393-18EE-DBC6B35BBE45}"/>
          </ac:picMkLst>
        </pc:picChg>
        <pc:picChg chg="add del">
          <ac:chgData name="Gabriele Zanoletti" userId="fc6666fa-3441-4ddc-a8b9-f69fbbdf5644" providerId="ADAL" clId="{F2571258-CC26-4B12-B833-E4A17A5DE9C1}" dt="2024-01-24T08:44:22.310" v="5078" actId="478"/>
          <ac:picMkLst>
            <pc:docMk/>
            <pc:sldMk cId="3397797632" sldId="299"/>
            <ac:picMk id="8" creationId="{3409910E-F1A4-73B7-E499-02FACB29FC28}"/>
          </ac:picMkLst>
        </pc:picChg>
        <pc:picChg chg="add del mod">
          <ac:chgData name="Gabriele Zanoletti" userId="fc6666fa-3441-4ddc-a8b9-f69fbbdf5644" providerId="ADAL" clId="{F2571258-CC26-4B12-B833-E4A17A5DE9C1}" dt="2024-01-23T13:48:08.213" v="454" actId="21"/>
          <ac:picMkLst>
            <pc:docMk/>
            <pc:sldMk cId="3397797632" sldId="299"/>
            <ac:picMk id="8" creationId="{B6794168-D8E1-EDD1-A176-74119CEDB909}"/>
          </ac:picMkLst>
        </pc:picChg>
        <pc:picChg chg="add del mod">
          <ac:chgData name="Gabriele Zanoletti" userId="fc6666fa-3441-4ddc-a8b9-f69fbbdf5644" providerId="ADAL" clId="{F2571258-CC26-4B12-B833-E4A17A5DE9C1}" dt="2024-01-24T08:50:28.683" v="5200" actId="478"/>
          <ac:picMkLst>
            <pc:docMk/>
            <pc:sldMk cId="3397797632" sldId="299"/>
            <ac:picMk id="10" creationId="{96508B31-0664-5814-829B-4F236006D44A}"/>
          </ac:picMkLst>
        </pc:picChg>
        <pc:picChg chg="add mod modCrop">
          <ac:chgData name="Gabriele Zanoletti" userId="fc6666fa-3441-4ddc-a8b9-f69fbbdf5644" providerId="ADAL" clId="{F2571258-CC26-4B12-B833-E4A17A5DE9C1}" dt="2024-01-24T08:54:04.934" v="5503" actId="1076"/>
          <ac:picMkLst>
            <pc:docMk/>
            <pc:sldMk cId="3397797632" sldId="299"/>
            <ac:picMk id="12" creationId="{0B2284A3-8BF2-EBF4-DE7A-149E73EDE7AC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09:19:28.290" v="6246" actId="404"/>
        <pc:sldMkLst>
          <pc:docMk/>
          <pc:sldMk cId="1255775440" sldId="300"/>
        </pc:sldMkLst>
        <pc:spChg chg="mod">
          <ac:chgData name="Gabriele Zanoletti" userId="fc6666fa-3441-4ddc-a8b9-f69fbbdf5644" providerId="ADAL" clId="{F2571258-CC26-4B12-B833-E4A17A5DE9C1}" dt="2024-01-23T15:06:22.447" v="1068" actId="20577"/>
          <ac:spMkLst>
            <pc:docMk/>
            <pc:sldMk cId="1255775440" sldId="300"/>
            <ac:spMk id="2" creationId="{0FED1ECC-B37A-AFAC-AAE5-7973C510847E}"/>
          </ac:spMkLst>
        </pc:spChg>
        <pc:spChg chg="add mod">
          <ac:chgData name="Gabriele Zanoletti" userId="fc6666fa-3441-4ddc-a8b9-f69fbbdf5644" providerId="ADAL" clId="{F2571258-CC26-4B12-B833-E4A17A5DE9C1}" dt="2024-01-24T09:19:28.290" v="6246" actId="404"/>
          <ac:spMkLst>
            <pc:docMk/>
            <pc:sldMk cId="1255775440" sldId="300"/>
            <ac:spMk id="6" creationId="{50C010F7-AEE0-3158-E807-1977EC3DB4D2}"/>
          </ac:spMkLst>
        </pc:spChg>
        <pc:picChg chg="add del mod">
          <ac:chgData name="Gabriele Zanoletti" userId="fc6666fa-3441-4ddc-a8b9-f69fbbdf5644" providerId="ADAL" clId="{F2571258-CC26-4B12-B833-E4A17A5DE9C1}" dt="2024-01-24T08:55:43.883" v="5507" actId="478"/>
          <ac:picMkLst>
            <pc:docMk/>
            <pc:sldMk cId="1255775440" sldId="300"/>
            <ac:picMk id="5" creationId="{795F670E-BF44-69E9-9847-E96A50B118E7}"/>
          </ac:picMkLst>
        </pc:picChg>
        <pc:picChg chg="add del mod">
          <ac:chgData name="Gabriele Zanoletti" userId="fc6666fa-3441-4ddc-a8b9-f69fbbdf5644" providerId="ADAL" clId="{F2571258-CC26-4B12-B833-E4A17A5DE9C1}" dt="2024-01-24T09:04:13.656" v="5514" actId="478"/>
          <ac:picMkLst>
            <pc:docMk/>
            <pc:sldMk cId="1255775440" sldId="300"/>
            <ac:picMk id="8" creationId="{B6794168-D8E1-EDD1-A176-74119CEDB909}"/>
          </ac:picMkLst>
        </pc:picChg>
        <pc:picChg chg="add del mod">
          <ac:chgData name="Gabriele Zanoletti" userId="fc6666fa-3441-4ddc-a8b9-f69fbbdf5644" providerId="ADAL" clId="{F2571258-CC26-4B12-B833-E4A17A5DE9C1}" dt="2024-01-24T09:05:21.460" v="5521" actId="478"/>
          <ac:picMkLst>
            <pc:docMk/>
            <pc:sldMk cId="1255775440" sldId="300"/>
            <ac:picMk id="9" creationId="{CFB0C776-E737-09FE-79CE-31B787FB8D01}"/>
          </ac:picMkLst>
        </pc:picChg>
        <pc:picChg chg="add mod">
          <ac:chgData name="Gabriele Zanoletti" userId="fc6666fa-3441-4ddc-a8b9-f69fbbdf5644" providerId="ADAL" clId="{F2571258-CC26-4B12-B833-E4A17A5DE9C1}" dt="2024-01-24T09:05:30.009" v="5525" actId="14100"/>
          <ac:picMkLst>
            <pc:docMk/>
            <pc:sldMk cId="1255775440" sldId="300"/>
            <ac:picMk id="11" creationId="{BFD91EDF-103E-CC18-BED5-D56810C9DC59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09:26:49.430" v="6401" actId="20577"/>
        <pc:sldMkLst>
          <pc:docMk/>
          <pc:sldMk cId="1968516981" sldId="301"/>
        </pc:sldMkLst>
        <pc:spChg chg="mod">
          <ac:chgData name="Gabriele Zanoletti" userId="fc6666fa-3441-4ddc-a8b9-f69fbbdf5644" providerId="ADAL" clId="{F2571258-CC26-4B12-B833-E4A17A5DE9C1}" dt="2024-01-23T15:07:28.813" v="1136" actId="20577"/>
          <ac:spMkLst>
            <pc:docMk/>
            <pc:sldMk cId="1968516981" sldId="301"/>
            <ac:spMk id="2" creationId="{E070C1E7-82FC-C308-48AA-BB576309C94E}"/>
          </ac:spMkLst>
        </pc:spChg>
        <pc:spChg chg="add del">
          <ac:chgData name="Gabriele Zanoletti" userId="fc6666fa-3441-4ddc-a8b9-f69fbbdf5644" providerId="ADAL" clId="{F2571258-CC26-4B12-B833-E4A17A5DE9C1}" dt="2024-01-24T09:22:00.578" v="6248" actId="478"/>
          <ac:spMkLst>
            <pc:docMk/>
            <pc:sldMk cId="1968516981" sldId="301"/>
            <ac:spMk id="7" creationId="{5DA769BC-12E5-8B45-6AEF-F49B2746742B}"/>
          </ac:spMkLst>
        </pc:spChg>
        <pc:spChg chg="add mod">
          <ac:chgData name="Gabriele Zanoletti" userId="fc6666fa-3441-4ddc-a8b9-f69fbbdf5644" providerId="ADAL" clId="{F2571258-CC26-4B12-B833-E4A17A5DE9C1}" dt="2024-01-24T09:26:49.430" v="6401" actId="20577"/>
          <ac:spMkLst>
            <pc:docMk/>
            <pc:sldMk cId="1968516981" sldId="301"/>
            <ac:spMk id="8" creationId="{8363D223-88A9-0442-F246-5982E43AFC0F}"/>
          </ac:spMkLst>
        </pc:spChg>
        <pc:picChg chg="add mod">
          <ac:chgData name="Gabriele Zanoletti" userId="fc6666fa-3441-4ddc-a8b9-f69fbbdf5644" providerId="ADAL" clId="{F2571258-CC26-4B12-B833-E4A17A5DE9C1}" dt="2024-01-24T09:22:24.330" v="6255" actId="1076"/>
          <ac:picMkLst>
            <pc:docMk/>
            <pc:sldMk cId="1968516981" sldId="301"/>
            <ac:picMk id="6" creationId="{87E9870D-FDB2-A3E7-A3EC-50D93BF44858}"/>
          </ac:picMkLst>
        </pc:picChg>
        <pc:picChg chg="add del mod">
          <ac:chgData name="Gabriele Zanoletti" userId="fc6666fa-3441-4ddc-a8b9-f69fbbdf5644" providerId="ADAL" clId="{F2571258-CC26-4B12-B833-E4A17A5DE9C1}" dt="2024-01-24T09:22:20.930" v="6254" actId="478"/>
          <ac:picMkLst>
            <pc:docMk/>
            <pc:sldMk cId="1968516981" sldId="301"/>
            <ac:picMk id="9" creationId="{4C1D8C7E-CF1B-A6B6-4D49-8298D5DE42C5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09:31:16.601" v="6455" actId="1076"/>
        <pc:sldMkLst>
          <pc:docMk/>
          <pc:sldMk cId="3837282433" sldId="302"/>
        </pc:sldMkLst>
        <pc:spChg chg="mod">
          <ac:chgData name="Gabriele Zanoletti" userId="fc6666fa-3441-4ddc-a8b9-f69fbbdf5644" providerId="ADAL" clId="{F2571258-CC26-4B12-B833-E4A17A5DE9C1}" dt="2024-01-23T15:10:01.729" v="1202" actId="20577"/>
          <ac:spMkLst>
            <pc:docMk/>
            <pc:sldMk cId="3837282433" sldId="302"/>
            <ac:spMk id="2" creationId="{D7C9BEB4-AE92-C198-5C9B-5A770711D3C8}"/>
          </ac:spMkLst>
        </pc:spChg>
        <pc:spChg chg="add del mod">
          <ac:chgData name="Gabriele Zanoletti" userId="fc6666fa-3441-4ddc-a8b9-f69fbbdf5644" providerId="ADAL" clId="{F2571258-CC26-4B12-B833-E4A17A5DE9C1}" dt="2024-01-24T09:27:24.505" v="6404" actId="478"/>
          <ac:spMkLst>
            <pc:docMk/>
            <pc:sldMk cId="3837282433" sldId="302"/>
            <ac:spMk id="7" creationId="{9997929F-87CD-5EB5-1933-697FB6CCF5BE}"/>
          </ac:spMkLst>
        </pc:spChg>
        <pc:spChg chg="add mod">
          <ac:chgData name="Gabriele Zanoletti" userId="fc6666fa-3441-4ddc-a8b9-f69fbbdf5644" providerId="ADAL" clId="{F2571258-CC26-4B12-B833-E4A17A5DE9C1}" dt="2024-01-24T09:31:05.518" v="6454" actId="255"/>
          <ac:spMkLst>
            <pc:docMk/>
            <pc:sldMk cId="3837282433" sldId="302"/>
            <ac:spMk id="9" creationId="{078BCF92-F916-33B3-0D64-C96047F9C5F5}"/>
          </ac:spMkLst>
        </pc:spChg>
        <pc:picChg chg="add mod">
          <ac:chgData name="Gabriele Zanoletti" userId="fc6666fa-3441-4ddc-a8b9-f69fbbdf5644" providerId="ADAL" clId="{F2571258-CC26-4B12-B833-E4A17A5DE9C1}" dt="2024-01-24T09:31:16.601" v="6455" actId="1076"/>
          <ac:picMkLst>
            <pc:docMk/>
            <pc:sldMk cId="3837282433" sldId="302"/>
            <ac:picMk id="6" creationId="{4E41CDDC-DA6F-7C91-0D04-E78724C92FF1}"/>
          </ac:picMkLst>
        </pc:picChg>
        <pc:picChg chg="add mod">
          <ac:chgData name="Gabriele Zanoletti" userId="fc6666fa-3441-4ddc-a8b9-f69fbbdf5644" providerId="ADAL" clId="{F2571258-CC26-4B12-B833-E4A17A5DE9C1}" dt="2024-01-24T09:29:20.733" v="6425" actId="1076"/>
          <ac:picMkLst>
            <pc:docMk/>
            <pc:sldMk cId="3837282433" sldId="302"/>
            <ac:picMk id="8" creationId="{0275A399-5A21-F73B-9407-2CA0146F7624}"/>
          </ac:picMkLst>
        </pc:picChg>
      </pc:sldChg>
      <pc:sldChg chg="addSp modSp new mod">
        <pc:chgData name="Gabriele Zanoletti" userId="fc6666fa-3441-4ddc-a8b9-f69fbbdf5644" providerId="ADAL" clId="{F2571258-CC26-4B12-B833-E4A17A5DE9C1}" dt="2024-01-24T09:32:34.089" v="6468" actId="6549"/>
        <pc:sldMkLst>
          <pc:docMk/>
          <pc:sldMk cId="786950877" sldId="303"/>
        </pc:sldMkLst>
        <pc:spChg chg="mod">
          <ac:chgData name="Gabriele Zanoletti" userId="fc6666fa-3441-4ddc-a8b9-f69fbbdf5644" providerId="ADAL" clId="{F2571258-CC26-4B12-B833-E4A17A5DE9C1}" dt="2024-01-23T15:10:11.571" v="1203" actId="20577"/>
          <ac:spMkLst>
            <pc:docMk/>
            <pc:sldMk cId="786950877" sldId="303"/>
            <ac:spMk id="2" creationId="{06675B17-37D5-6F32-A9A2-60EF4BB95C5E}"/>
          </ac:spMkLst>
        </pc:spChg>
        <pc:spChg chg="add mod">
          <ac:chgData name="Gabriele Zanoletti" userId="fc6666fa-3441-4ddc-a8b9-f69fbbdf5644" providerId="ADAL" clId="{F2571258-CC26-4B12-B833-E4A17A5DE9C1}" dt="2024-01-24T09:32:34.089" v="6468" actId="6549"/>
          <ac:spMkLst>
            <pc:docMk/>
            <pc:sldMk cId="786950877" sldId="303"/>
            <ac:spMk id="5" creationId="{FB1F8869-1CA9-0423-420E-C8D6324DBE23}"/>
          </ac:spMkLst>
        </pc:spChg>
        <pc:picChg chg="add mod">
          <ac:chgData name="Gabriele Zanoletti" userId="fc6666fa-3441-4ddc-a8b9-f69fbbdf5644" providerId="ADAL" clId="{F2571258-CC26-4B12-B833-E4A17A5DE9C1}" dt="2024-01-24T09:32:07.749" v="6461" actId="1076"/>
          <ac:picMkLst>
            <pc:docMk/>
            <pc:sldMk cId="786950877" sldId="303"/>
            <ac:picMk id="6" creationId="{5F6F4CC5-FDDE-53EF-8475-CD13B25E6EE8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09:36:27.945" v="6595" actId="14100"/>
        <pc:sldMkLst>
          <pc:docMk/>
          <pc:sldMk cId="4147670638" sldId="304"/>
        </pc:sldMkLst>
        <pc:spChg chg="mod">
          <ac:chgData name="Gabriele Zanoletti" userId="fc6666fa-3441-4ddc-a8b9-f69fbbdf5644" providerId="ADAL" clId="{F2571258-CC26-4B12-B833-E4A17A5DE9C1}" dt="2024-01-23T15:10:15.663" v="1204" actId="20577"/>
          <ac:spMkLst>
            <pc:docMk/>
            <pc:sldMk cId="4147670638" sldId="304"/>
            <ac:spMk id="2" creationId="{06675B17-37D5-6F32-A9A2-60EF4BB95C5E}"/>
          </ac:spMkLst>
        </pc:spChg>
        <pc:spChg chg="add mod">
          <ac:chgData name="Gabriele Zanoletti" userId="fc6666fa-3441-4ddc-a8b9-f69fbbdf5644" providerId="ADAL" clId="{F2571258-CC26-4B12-B833-E4A17A5DE9C1}" dt="2024-01-24T09:36:27.945" v="6595" actId="14100"/>
          <ac:spMkLst>
            <pc:docMk/>
            <pc:sldMk cId="4147670638" sldId="304"/>
            <ac:spMk id="5" creationId="{1D1BB2AF-92FA-D679-2481-ABAEE07337E9}"/>
          </ac:spMkLst>
        </pc:spChg>
        <pc:picChg chg="del">
          <ac:chgData name="Gabriele Zanoletti" userId="fc6666fa-3441-4ddc-a8b9-f69fbbdf5644" providerId="ADAL" clId="{F2571258-CC26-4B12-B833-E4A17A5DE9C1}" dt="2024-01-23T14:12:05.095" v="516" actId="478"/>
          <ac:picMkLst>
            <pc:docMk/>
            <pc:sldMk cId="4147670638" sldId="304"/>
            <ac:picMk id="6" creationId="{5F6F4CC5-FDDE-53EF-8475-CD13B25E6EE8}"/>
          </ac:picMkLst>
        </pc:picChg>
        <pc:picChg chg="add mod">
          <ac:chgData name="Gabriele Zanoletti" userId="fc6666fa-3441-4ddc-a8b9-f69fbbdf5644" providerId="ADAL" clId="{F2571258-CC26-4B12-B833-E4A17A5DE9C1}" dt="2024-01-24T09:34:29.460" v="6530" actId="1076"/>
          <ac:picMkLst>
            <pc:docMk/>
            <pc:sldMk cId="4147670638" sldId="304"/>
            <ac:picMk id="7" creationId="{D180DF65-E1D6-19AE-3679-246BD75F1FC2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09:54:09.529" v="6965" actId="1076"/>
        <pc:sldMkLst>
          <pc:docMk/>
          <pc:sldMk cId="2129748764" sldId="305"/>
        </pc:sldMkLst>
        <pc:spChg chg="mod">
          <ac:chgData name="Gabriele Zanoletti" userId="fc6666fa-3441-4ddc-a8b9-f69fbbdf5644" providerId="ADAL" clId="{F2571258-CC26-4B12-B833-E4A17A5DE9C1}" dt="2024-01-23T15:10:44.226" v="1328" actId="20577"/>
          <ac:spMkLst>
            <pc:docMk/>
            <pc:sldMk cId="2129748764" sldId="305"/>
            <ac:spMk id="2" creationId="{22E6288F-4C58-0357-7270-DAE1CDAF3F92}"/>
          </ac:spMkLst>
        </pc:spChg>
        <pc:spChg chg="add del mod">
          <ac:chgData name="Gabriele Zanoletti" userId="fc6666fa-3441-4ddc-a8b9-f69fbbdf5644" providerId="ADAL" clId="{F2571258-CC26-4B12-B833-E4A17A5DE9C1}" dt="2024-01-24T09:52:19.125" v="6782" actId="478"/>
          <ac:spMkLst>
            <pc:docMk/>
            <pc:sldMk cId="2129748764" sldId="305"/>
            <ac:spMk id="5" creationId="{161AC5EE-E577-5065-8934-4C04036C5DE1}"/>
          </ac:spMkLst>
        </pc:spChg>
        <pc:spChg chg="add mod">
          <ac:chgData name="Gabriele Zanoletti" userId="fc6666fa-3441-4ddc-a8b9-f69fbbdf5644" providerId="ADAL" clId="{F2571258-CC26-4B12-B833-E4A17A5DE9C1}" dt="2024-01-24T09:54:00.099" v="6962" actId="122"/>
          <ac:spMkLst>
            <pc:docMk/>
            <pc:sldMk cId="2129748764" sldId="305"/>
            <ac:spMk id="7" creationId="{A06493C9-D57D-B443-F7C5-67928C6CA30F}"/>
          </ac:spMkLst>
        </pc:spChg>
        <pc:picChg chg="add mod modCrop">
          <ac:chgData name="Gabriele Zanoletti" userId="fc6666fa-3441-4ddc-a8b9-f69fbbdf5644" providerId="ADAL" clId="{F2571258-CC26-4B12-B833-E4A17A5DE9C1}" dt="2024-01-24T09:54:09.529" v="6965" actId="1076"/>
          <ac:picMkLst>
            <pc:docMk/>
            <pc:sldMk cId="2129748764" sldId="305"/>
            <ac:picMk id="6" creationId="{17B56DBD-2744-DC79-6B4F-83D9E731D7D4}"/>
          </ac:picMkLst>
        </pc:picChg>
      </pc:sldChg>
      <pc:sldChg chg="addSp delSp modSp new mod ord modCm">
        <pc:chgData name="Gabriele Zanoletti" userId="fc6666fa-3441-4ddc-a8b9-f69fbbdf5644" providerId="ADAL" clId="{F2571258-CC26-4B12-B833-E4A17A5DE9C1}" dt="2024-01-24T11:56:11.253" v="10544" actId="1076"/>
        <pc:sldMkLst>
          <pc:docMk/>
          <pc:sldMk cId="4004401706" sldId="306"/>
        </pc:sldMkLst>
        <pc:spChg chg="mod">
          <ac:chgData name="Gabriele Zanoletti" userId="fc6666fa-3441-4ddc-a8b9-f69fbbdf5644" providerId="ADAL" clId="{F2571258-CC26-4B12-B833-E4A17A5DE9C1}" dt="2024-01-23T15:11:22.809" v="1359" actId="20577"/>
          <ac:spMkLst>
            <pc:docMk/>
            <pc:sldMk cId="4004401706" sldId="306"/>
            <ac:spMk id="2" creationId="{8AECB9C5-20A5-EC47-5C23-A7A35D341FDE}"/>
          </ac:spMkLst>
        </pc:spChg>
        <pc:spChg chg="add mod">
          <ac:chgData name="Gabriele Zanoletti" userId="fc6666fa-3441-4ddc-a8b9-f69fbbdf5644" providerId="ADAL" clId="{F2571258-CC26-4B12-B833-E4A17A5DE9C1}" dt="2024-01-24T09:51:09.108" v="6764" actId="20577"/>
          <ac:spMkLst>
            <pc:docMk/>
            <pc:sldMk cId="4004401706" sldId="306"/>
            <ac:spMk id="7" creationId="{3D66364C-5949-1C11-BADB-DAAABF23F60E}"/>
          </ac:spMkLst>
        </pc:spChg>
        <pc:picChg chg="add del mod modCrop">
          <ac:chgData name="Gabriele Zanoletti" userId="fc6666fa-3441-4ddc-a8b9-f69fbbdf5644" providerId="ADAL" clId="{F2571258-CC26-4B12-B833-E4A17A5DE9C1}" dt="2024-01-24T07:51:15.428" v="3119" actId="478"/>
          <ac:picMkLst>
            <pc:docMk/>
            <pc:sldMk cId="4004401706" sldId="306"/>
            <ac:picMk id="6" creationId="{091D4036-1C9A-836F-655C-2CF64F125ADF}"/>
          </ac:picMkLst>
        </pc:picChg>
        <pc:picChg chg="add mod">
          <ac:chgData name="Gabriele Zanoletti" userId="fc6666fa-3441-4ddc-a8b9-f69fbbdf5644" providerId="ADAL" clId="{F2571258-CC26-4B12-B833-E4A17A5DE9C1}" dt="2024-01-24T09:44:58.475" v="6603" actId="14100"/>
          <ac:picMkLst>
            <pc:docMk/>
            <pc:sldMk cId="4004401706" sldId="306"/>
            <ac:picMk id="6" creationId="{BBBA1E22-BD36-91B0-4BC1-70F0CCB90BE5}"/>
          </ac:picMkLst>
        </pc:picChg>
        <pc:picChg chg="add del mod">
          <ac:chgData name="Gabriele Zanoletti" userId="fc6666fa-3441-4ddc-a8b9-f69fbbdf5644" providerId="ADAL" clId="{F2571258-CC26-4B12-B833-E4A17A5DE9C1}" dt="2024-01-23T14:16:53.708" v="546" actId="478"/>
          <ac:picMkLst>
            <pc:docMk/>
            <pc:sldMk cId="4004401706" sldId="306"/>
            <ac:picMk id="6" creationId="{D46BF2C4-6B97-4315-1F26-FDA00C16B9E0}"/>
          </ac:picMkLst>
        </pc:picChg>
        <pc:picChg chg="add mod modCrop">
          <ac:chgData name="Gabriele Zanoletti" userId="fc6666fa-3441-4ddc-a8b9-f69fbbdf5644" providerId="ADAL" clId="{F2571258-CC26-4B12-B833-E4A17A5DE9C1}" dt="2024-01-24T11:56:11.253" v="10544" actId="1076"/>
          <ac:picMkLst>
            <pc:docMk/>
            <pc:sldMk cId="4004401706" sldId="306"/>
            <ac:picMk id="8" creationId="{0B11CBEA-F85C-2841-5511-88229035CB2D}"/>
          </ac:picMkLst>
        </pc:picChg>
        <pc:picChg chg="add del mod">
          <ac:chgData name="Gabriele Zanoletti" userId="fc6666fa-3441-4ddc-a8b9-f69fbbdf5644" providerId="ADAL" clId="{F2571258-CC26-4B12-B833-E4A17A5DE9C1}" dt="2024-01-24T09:44:48.244" v="6598" actId="478"/>
          <ac:picMkLst>
            <pc:docMk/>
            <pc:sldMk cId="4004401706" sldId="306"/>
            <ac:picMk id="8" creationId="{702EC50C-CEC2-086A-CB65-BDE3C3091EEE}"/>
          </ac:picMkLst>
        </pc:picChg>
        <pc:picChg chg="add del mod">
          <ac:chgData name="Gabriele Zanoletti" userId="fc6666fa-3441-4ddc-a8b9-f69fbbdf5644" providerId="ADAL" clId="{F2571258-CC26-4B12-B833-E4A17A5DE9C1}" dt="2024-01-23T14:17:42.678" v="554" actId="478"/>
          <ac:picMkLst>
            <pc:docMk/>
            <pc:sldMk cId="4004401706" sldId="306"/>
            <ac:picMk id="8" creationId="{FD176689-D28D-7DBC-C1B7-ECC0ACCE8680}"/>
          </ac:picMkLst>
        </pc:picChg>
        <pc:picChg chg="add del mod">
          <ac:chgData name="Gabriele Zanoletti" userId="fc6666fa-3441-4ddc-a8b9-f69fbbdf5644" providerId="ADAL" clId="{F2571258-CC26-4B12-B833-E4A17A5DE9C1}" dt="2024-01-23T19:02:25.653" v="3080" actId="478"/>
          <ac:picMkLst>
            <pc:docMk/>
            <pc:sldMk cId="4004401706" sldId="306"/>
            <ac:picMk id="10" creationId="{56FC5E3E-D166-F53D-7643-AD6657B22C6B}"/>
          </ac:picMkLst>
        </pc:picChg>
        <pc:picChg chg="add del mod modCrop">
          <ac:chgData name="Gabriele Zanoletti" userId="fc6666fa-3441-4ddc-a8b9-f69fbbdf5644" providerId="ADAL" clId="{F2571258-CC26-4B12-B833-E4A17A5DE9C1}" dt="2024-01-24T11:55:47.780" v="10535" actId="478"/>
          <ac:picMkLst>
            <pc:docMk/>
            <pc:sldMk cId="4004401706" sldId="306"/>
            <ac:picMk id="11" creationId="{22E9752A-3928-625E-2CBC-B85021279401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Gabriele Zanoletti" userId="fc6666fa-3441-4ddc-a8b9-f69fbbdf5644" providerId="ADAL" clId="{F2571258-CC26-4B12-B833-E4A17A5DE9C1}" dt="2024-01-23T19:02:25.661" v="3081" actId="2056"/>
              <pc2:cmMkLst xmlns:pc2="http://schemas.microsoft.com/office/powerpoint/2019/9/main/command">
                <pc:docMk/>
                <pc:sldMk cId="4004401706" sldId="306"/>
                <pc2:cmMk id="{7EF4B918-92B8-4117-8635-D4BBFF2EC088}"/>
              </pc2:cmMkLst>
              <pc226:cmRplyChg chg="add">
                <pc226:chgData name="Gabriele Zanoletti" userId="fc6666fa-3441-4ddc-a8b9-f69fbbdf5644" providerId="ADAL" clId="{F2571258-CC26-4B12-B833-E4A17A5DE9C1}" dt="2024-01-23T17:00:40.557" v="3060"/>
                <pc2:cmRplyMkLst xmlns:pc2="http://schemas.microsoft.com/office/powerpoint/2019/9/main/command">
                  <pc:docMk/>
                  <pc:sldMk cId="4004401706" sldId="306"/>
                  <pc2:cmMk id="{7EF4B918-92B8-4117-8635-D4BBFF2EC088}"/>
                  <pc2:cmRplyMk id="{10CBCBC6-D26A-4DC3-90A4-AD696B3AAD03}"/>
                </pc2:cmRplyMkLst>
              </pc226:cmRplyChg>
            </pc226:cmChg>
          </p:ext>
        </pc:extLst>
      </pc:sldChg>
      <pc:sldChg chg="addSp modSp new mod">
        <pc:chgData name="Gabriele Zanoletti" userId="fc6666fa-3441-4ddc-a8b9-f69fbbdf5644" providerId="ADAL" clId="{F2571258-CC26-4B12-B833-E4A17A5DE9C1}" dt="2024-01-24T09:58:48.139" v="7179" actId="20577"/>
        <pc:sldMkLst>
          <pc:docMk/>
          <pc:sldMk cId="3230328343" sldId="307"/>
        </pc:sldMkLst>
        <pc:spChg chg="mod">
          <ac:chgData name="Gabriele Zanoletti" userId="fc6666fa-3441-4ddc-a8b9-f69fbbdf5644" providerId="ADAL" clId="{F2571258-CC26-4B12-B833-E4A17A5DE9C1}" dt="2024-01-23T15:13:12.661" v="1462" actId="20577"/>
          <ac:spMkLst>
            <pc:docMk/>
            <pc:sldMk cId="3230328343" sldId="307"/>
            <ac:spMk id="2" creationId="{05CF7369-2F65-253A-B1C2-BBEA8D8E5792}"/>
          </ac:spMkLst>
        </pc:spChg>
        <pc:spChg chg="add mod">
          <ac:chgData name="Gabriele Zanoletti" userId="fc6666fa-3441-4ddc-a8b9-f69fbbdf5644" providerId="ADAL" clId="{F2571258-CC26-4B12-B833-E4A17A5DE9C1}" dt="2024-01-24T09:58:48.139" v="7179" actId="20577"/>
          <ac:spMkLst>
            <pc:docMk/>
            <pc:sldMk cId="3230328343" sldId="307"/>
            <ac:spMk id="5" creationId="{B07BC521-FBBA-7C9C-ACDD-A2475B3A821D}"/>
          </ac:spMkLst>
        </pc:spChg>
        <pc:picChg chg="add mod">
          <ac:chgData name="Gabriele Zanoletti" userId="fc6666fa-3441-4ddc-a8b9-f69fbbdf5644" providerId="ADAL" clId="{F2571258-CC26-4B12-B833-E4A17A5DE9C1}" dt="2024-01-24T09:55:03.231" v="6971" actId="1076"/>
          <ac:picMkLst>
            <pc:docMk/>
            <pc:sldMk cId="3230328343" sldId="307"/>
            <ac:picMk id="6" creationId="{9F48A76D-807C-C4A1-0F15-F6A6A11713ED}"/>
          </ac:picMkLst>
        </pc:picChg>
      </pc:sldChg>
      <pc:sldChg chg="addSp delSp modSp new mod modCm">
        <pc:chgData name="Gabriele Zanoletti" userId="fc6666fa-3441-4ddc-a8b9-f69fbbdf5644" providerId="ADAL" clId="{F2571258-CC26-4B12-B833-E4A17A5DE9C1}" dt="2024-01-23T17:34:27.357" v="3079"/>
        <pc:sldMkLst>
          <pc:docMk/>
          <pc:sldMk cId="3362905413" sldId="308"/>
        </pc:sldMkLst>
        <pc:spChg chg="mod">
          <ac:chgData name="Gabriele Zanoletti" userId="fc6666fa-3441-4ddc-a8b9-f69fbbdf5644" providerId="ADAL" clId="{F2571258-CC26-4B12-B833-E4A17A5DE9C1}" dt="2024-01-23T15:13:19.638" v="1467" actId="20577"/>
          <ac:spMkLst>
            <pc:docMk/>
            <pc:sldMk cId="3362905413" sldId="308"/>
            <ac:spMk id="2" creationId="{EB4E5E96-B469-C391-2030-16DB28D7BF63}"/>
          </ac:spMkLst>
        </pc:spChg>
        <pc:picChg chg="add del mod">
          <ac:chgData name="Gabriele Zanoletti" userId="fc6666fa-3441-4ddc-a8b9-f69fbbdf5644" providerId="ADAL" clId="{F2571258-CC26-4B12-B833-E4A17A5DE9C1}" dt="2024-01-23T14:21:11.181" v="566" actId="478"/>
          <ac:picMkLst>
            <pc:docMk/>
            <pc:sldMk cId="3362905413" sldId="308"/>
            <ac:picMk id="6" creationId="{A69E4C12-3520-FAFD-EAB8-D21BF70D8DED}"/>
          </ac:picMkLst>
        </pc:picChg>
        <pc:picChg chg="add del mod">
          <ac:chgData name="Gabriele Zanoletti" userId="fc6666fa-3441-4ddc-a8b9-f69fbbdf5644" providerId="ADAL" clId="{F2571258-CC26-4B12-B833-E4A17A5DE9C1}" dt="2024-01-23T14:26:39.598" v="572" actId="478"/>
          <ac:picMkLst>
            <pc:docMk/>
            <pc:sldMk cId="3362905413" sldId="308"/>
            <ac:picMk id="8" creationId="{6D5552F2-569F-8494-2828-378AD2EB2FB9}"/>
          </ac:picMkLst>
        </pc:picChg>
        <pc:picChg chg="add mod">
          <ac:chgData name="Gabriele Zanoletti" userId="fc6666fa-3441-4ddc-a8b9-f69fbbdf5644" providerId="ADAL" clId="{F2571258-CC26-4B12-B833-E4A17A5DE9C1}" dt="2024-01-23T17:33:54.428" v="3078" actId="14826"/>
          <ac:picMkLst>
            <pc:docMk/>
            <pc:sldMk cId="3362905413" sldId="308"/>
            <ac:picMk id="10" creationId="{2E545020-29B7-C7CA-1AAD-222427B629DD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Gabriele Zanoletti" userId="fc6666fa-3441-4ddc-a8b9-f69fbbdf5644" providerId="ADAL" clId="{F2571258-CC26-4B12-B833-E4A17A5DE9C1}" dt="2024-01-23T17:34:27.357" v="3079"/>
              <pc2:cmMkLst xmlns:pc2="http://schemas.microsoft.com/office/powerpoint/2019/9/main/command">
                <pc:docMk/>
                <pc:sldMk cId="3362905413" sldId="308"/>
                <pc2:cmMk id="{05023031-9D81-451E-869F-824F81EDCEE4}"/>
              </pc2:cmMkLst>
              <pc226:cmRplyChg chg="add">
                <pc226:chgData name="Gabriele Zanoletti" userId="fc6666fa-3441-4ddc-a8b9-f69fbbdf5644" providerId="ADAL" clId="{F2571258-CC26-4B12-B833-E4A17A5DE9C1}" dt="2024-01-23T17:34:27.357" v="3079"/>
                <pc2:cmRplyMkLst xmlns:pc2="http://schemas.microsoft.com/office/powerpoint/2019/9/main/command">
                  <pc:docMk/>
                  <pc:sldMk cId="3362905413" sldId="308"/>
                  <pc2:cmMk id="{05023031-9D81-451E-869F-824F81EDCEE4}"/>
                  <pc2:cmRplyMk id="{E03C6E0D-32C9-40AB-B463-EC99AADB7F39}"/>
                </pc2:cmRplyMkLst>
              </pc226:cmRplyChg>
            </pc226:cmChg>
          </p:ext>
        </pc:extLst>
      </pc:sldChg>
      <pc:sldChg chg="addSp modSp new mod">
        <pc:chgData name="Gabriele Zanoletti" userId="fc6666fa-3441-4ddc-a8b9-f69fbbdf5644" providerId="ADAL" clId="{F2571258-CC26-4B12-B833-E4A17A5DE9C1}" dt="2024-01-24T10:40:06.710" v="8116" actId="313"/>
        <pc:sldMkLst>
          <pc:docMk/>
          <pc:sldMk cId="1862611760" sldId="309"/>
        </pc:sldMkLst>
        <pc:spChg chg="mod">
          <ac:chgData name="Gabriele Zanoletti" userId="fc6666fa-3441-4ddc-a8b9-f69fbbdf5644" providerId="ADAL" clId="{F2571258-CC26-4B12-B833-E4A17A5DE9C1}" dt="2024-01-23T15:15:15.885" v="1638" actId="20577"/>
          <ac:spMkLst>
            <pc:docMk/>
            <pc:sldMk cId="1862611760" sldId="309"/>
            <ac:spMk id="2" creationId="{F25E1798-44B9-E9A7-1C0B-8AB32CAA377B}"/>
          </ac:spMkLst>
        </pc:spChg>
        <pc:spChg chg="add mod">
          <ac:chgData name="Gabriele Zanoletti" userId="fc6666fa-3441-4ddc-a8b9-f69fbbdf5644" providerId="ADAL" clId="{F2571258-CC26-4B12-B833-E4A17A5DE9C1}" dt="2024-01-24T10:40:06.710" v="8116" actId="313"/>
          <ac:spMkLst>
            <pc:docMk/>
            <pc:sldMk cId="1862611760" sldId="309"/>
            <ac:spMk id="5" creationId="{AC4238AF-2DF0-4FA6-1538-779A98CF0F5A}"/>
          </ac:spMkLst>
        </pc:spChg>
        <pc:picChg chg="add mod">
          <ac:chgData name="Gabriele Zanoletti" userId="fc6666fa-3441-4ddc-a8b9-f69fbbdf5644" providerId="ADAL" clId="{F2571258-CC26-4B12-B833-E4A17A5DE9C1}" dt="2024-01-24T10:32:26.434" v="7782" actId="1076"/>
          <ac:picMkLst>
            <pc:docMk/>
            <pc:sldMk cId="1862611760" sldId="309"/>
            <ac:picMk id="6" creationId="{E38F384D-7679-9600-6C38-1A48348F88B8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10:12:32.128" v="7777" actId="14100"/>
        <pc:sldMkLst>
          <pc:docMk/>
          <pc:sldMk cId="3056404990" sldId="310"/>
        </pc:sldMkLst>
        <pc:spChg chg="mod">
          <ac:chgData name="Gabriele Zanoletti" userId="fc6666fa-3441-4ddc-a8b9-f69fbbdf5644" providerId="ADAL" clId="{F2571258-CC26-4B12-B833-E4A17A5DE9C1}" dt="2024-01-23T15:15:08.300" v="1617" actId="20577"/>
          <ac:spMkLst>
            <pc:docMk/>
            <pc:sldMk cId="3056404990" sldId="310"/>
            <ac:spMk id="2" creationId="{662082BB-C9A7-C989-B91F-7342A9ACB82B}"/>
          </ac:spMkLst>
        </pc:spChg>
        <pc:spChg chg="add del">
          <ac:chgData name="Gabriele Zanoletti" userId="fc6666fa-3441-4ddc-a8b9-f69fbbdf5644" providerId="ADAL" clId="{F2571258-CC26-4B12-B833-E4A17A5DE9C1}" dt="2024-01-24T10:11:11.015" v="7750" actId="22"/>
          <ac:spMkLst>
            <pc:docMk/>
            <pc:sldMk cId="3056404990" sldId="310"/>
            <ac:spMk id="8" creationId="{214874CB-D05D-008E-5720-1344FECA71D4}"/>
          </ac:spMkLst>
        </pc:spChg>
        <pc:spChg chg="add del">
          <ac:chgData name="Gabriele Zanoletti" userId="fc6666fa-3441-4ddc-a8b9-f69fbbdf5644" providerId="ADAL" clId="{F2571258-CC26-4B12-B833-E4A17A5DE9C1}" dt="2024-01-24T10:11:12.850" v="7752" actId="22"/>
          <ac:spMkLst>
            <pc:docMk/>
            <pc:sldMk cId="3056404990" sldId="310"/>
            <ac:spMk id="10" creationId="{205B5BEC-1981-9691-B9A5-E5B31C93FFE7}"/>
          </ac:spMkLst>
        </pc:spChg>
        <pc:spChg chg="add del">
          <ac:chgData name="Gabriele Zanoletti" userId="fc6666fa-3441-4ddc-a8b9-f69fbbdf5644" providerId="ADAL" clId="{F2571258-CC26-4B12-B833-E4A17A5DE9C1}" dt="2024-01-24T10:11:16.057" v="7754" actId="478"/>
          <ac:spMkLst>
            <pc:docMk/>
            <pc:sldMk cId="3056404990" sldId="310"/>
            <ac:spMk id="12" creationId="{510AD54C-2317-C9DE-C41E-C96D489B1572}"/>
          </ac:spMkLst>
        </pc:spChg>
        <pc:spChg chg="add mod">
          <ac:chgData name="Gabriele Zanoletti" userId="fc6666fa-3441-4ddc-a8b9-f69fbbdf5644" providerId="ADAL" clId="{F2571258-CC26-4B12-B833-E4A17A5DE9C1}" dt="2024-01-24T10:11:51.284" v="7765" actId="14100"/>
          <ac:spMkLst>
            <pc:docMk/>
            <pc:sldMk cId="3056404990" sldId="310"/>
            <ac:spMk id="13" creationId="{1EB651DB-6E78-D1E3-DD02-943BEADAAD28}"/>
          </ac:spMkLst>
        </pc:spChg>
        <pc:picChg chg="add mod">
          <ac:chgData name="Gabriele Zanoletti" userId="fc6666fa-3441-4ddc-a8b9-f69fbbdf5644" providerId="ADAL" clId="{F2571258-CC26-4B12-B833-E4A17A5DE9C1}" dt="2024-01-24T10:12:29.232" v="7776" actId="1076"/>
          <ac:picMkLst>
            <pc:docMk/>
            <pc:sldMk cId="3056404990" sldId="310"/>
            <ac:picMk id="5" creationId="{5E7B7270-F1F7-83FD-94CF-80C6A80F7EA5}"/>
          </ac:picMkLst>
        </pc:picChg>
        <pc:picChg chg="add mod">
          <ac:chgData name="Gabriele Zanoletti" userId="fc6666fa-3441-4ddc-a8b9-f69fbbdf5644" providerId="ADAL" clId="{F2571258-CC26-4B12-B833-E4A17A5DE9C1}" dt="2024-01-24T10:12:32.128" v="7777" actId="14100"/>
          <ac:picMkLst>
            <pc:docMk/>
            <pc:sldMk cId="3056404990" sldId="310"/>
            <ac:picMk id="6" creationId="{DB30A713-440A-A7EE-B596-7CAF70824DE2}"/>
          </ac:picMkLst>
        </pc:picChg>
      </pc:sldChg>
      <pc:sldChg chg="addSp delSp modSp new mod ord">
        <pc:chgData name="Gabriele Zanoletti" userId="fc6666fa-3441-4ddc-a8b9-f69fbbdf5644" providerId="ADAL" clId="{F2571258-CC26-4B12-B833-E4A17A5DE9C1}" dt="2024-01-24T10:10:31.814" v="7746" actId="207"/>
        <pc:sldMkLst>
          <pc:docMk/>
          <pc:sldMk cId="3396422946" sldId="311"/>
        </pc:sldMkLst>
        <pc:spChg chg="mod">
          <ac:chgData name="Gabriele Zanoletti" userId="fc6666fa-3441-4ddc-a8b9-f69fbbdf5644" providerId="ADAL" clId="{F2571258-CC26-4B12-B833-E4A17A5DE9C1}" dt="2024-01-23T15:15:05.988" v="1616" actId="20577"/>
          <ac:spMkLst>
            <pc:docMk/>
            <pc:sldMk cId="3396422946" sldId="311"/>
            <ac:spMk id="2" creationId="{9A16C503-7AFD-C031-469E-EA35F5B3BDC7}"/>
          </ac:spMkLst>
        </pc:spChg>
        <pc:spChg chg="add mod">
          <ac:chgData name="Gabriele Zanoletti" userId="fc6666fa-3441-4ddc-a8b9-f69fbbdf5644" providerId="ADAL" clId="{F2571258-CC26-4B12-B833-E4A17A5DE9C1}" dt="2024-01-24T10:02:52.287" v="7307" actId="1036"/>
          <ac:spMkLst>
            <pc:docMk/>
            <pc:sldMk cId="3396422946" sldId="311"/>
            <ac:spMk id="5" creationId="{489319FF-61D4-FFD6-5A12-DF8EB4FACE5E}"/>
          </ac:spMkLst>
        </pc:spChg>
        <pc:spChg chg="add mod">
          <ac:chgData name="Gabriele Zanoletti" userId="fc6666fa-3441-4ddc-a8b9-f69fbbdf5644" providerId="ADAL" clId="{F2571258-CC26-4B12-B833-E4A17A5DE9C1}" dt="2024-01-24T10:03:14.639" v="7344" actId="20577"/>
          <ac:spMkLst>
            <pc:docMk/>
            <pc:sldMk cId="3396422946" sldId="311"/>
            <ac:spMk id="6" creationId="{99DE8857-3F24-E736-FFD4-27CB50E401E4}"/>
          </ac:spMkLst>
        </pc:spChg>
        <pc:spChg chg="add mod">
          <ac:chgData name="Gabriele Zanoletti" userId="fc6666fa-3441-4ddc-a8b9-f69fbbdf5644" providerId="ADAL" clId="{F2571258-CC26-4B12-B833-E4A17A5DE9C1}" dt="2024-01-24T10:04:00.934" v="7359" actId="1076"/>
          <ac:spMkLst>
            <pc:docMk/>
            <pc:sldMk cId="3396422946" sldId="311"/>
            <ac:spMk id="7" creationId="{164AD2CD-174E-83C8-0CD8-721C5312C3A8}"/>
          </ac:spMkLst>
        </pc:spChg>
        <pc:spChg chg="add mod">
          <ac:chgData name="Gabriele Zanoletti" userId="fc6666fa-3441-4ddc-a8b9-f69fbbdf5644" providerId="ADAL" clId="{F2571258-CC26-4B12-B833-E4A17A5DE9C1}" dt="2024-01-24T10:04:18" v="7363" actId="1038"/>
          <ac:spMkLst>
            <pc:docMk/>
            <pc:sldMk cId="3396422946" sldId="311"/>
            <ac:spMk id="8" creationId="{AF11ED59-1850-5721-B1B2-ACE017227103}"/>
          </ac:spMkLst>
        </pc:spChg>
        <pc:spChg chg="add del mod">
          <ac:chgData name="Gabriele Zanoletti" userId="fc6666fa-3441-4ddc-a8b9-f69fbbdf5644" providerId="ADAL" clId="{F2571258-CC26-4B12-B833-E4A17A5DE9C1}" dt="2024-01-24T10:09:24.738" v="7740" actId="478"/>
          <ac:spMkLst>
            <pc:docMk/>
            <pc:sldMk cId="3396422946" sldId="311"/>
            <ac:spMk id="9" creationId="{AAC223F9-24D6-F806-4577-65D1B706DE83}"/>
          </ac:spMkLst>
        </pc:spChg>
        <pc:spChg chg="add del mod">
          <ac:chgData name="Gabriele Zanoletti" userId="fc6666fa-3441-4ddc-a8b9-f69fbbdf5644" providerId="ADAL" clId="{F2571258-CC26-4B12-B833-E4A17A5DE9C1}" dt="2024-01-24T10:08:11.590" v="7732" actId="478"/>
          <ac:spMkLst>
            <pc:docMk/>
            <pc:sldMk cId="3396422946" sldId="311"/>
            <ac:spMk id="10" creationId="{31F4EA30-EB98-7C09-03CF-D4D44F75932C}"/>
          </ac:spMkLst>
        </pc:spChg>
        <pc:spChg chg="add mod">
          <ac:chgData name="Gabriele Zanoletti" userId="fc6666fa-3441-4ddc-a8b9-f69fbbdf5644" providerId="ADAL" clId="{F2571258-CC26-4B12-B833-E4A17A5DE9C1}" dt="2024-01-24T10:10:31.814" v="7746" actId="207"/>
          <ac:spMkLst>
            <pc:docMk/>
            <pc:sldMk cId="3396422946" sldId="311"/>
            <ac:spMk id="11" creationId="{0D913705-906C-0EEC-DAD0-E6B0358AD453}"/>
          </ac:spMkLst>
        </pc:spChg>
        <pc:spChg chg="add mod">
          <ac:chgData name="Gabriele Zanoletti" userId="fc6666fa-3441-4ddc-a8b9-f69fbbdf5644" providerId="ADAL" clId="{F2571258-CC26-4B12-B833-E4A17A5DE9C1}" dt="2024-01-24T10:09:37.591" v="7745"/>
          <ac:spMkLst>
            <pc:docMk/>
            <pc:sldMk cId="3396422946" sldId="311"/>
            <ac:spMk id="12" creationId="{C91EEDA4-E230-6BA2-18DA-987EEF933623}"/>
          </ac:spMkLst>
        </pc:spChg>
        <pc:picChg chg="add mod">
          <ac:chgData name="Gabriele Zanoletti" userId="fc6666fa-3441-4ddc-a8b9-f69fbbdf5644" providerId="ADAL" clId="{F2571258-CC26-4B12-B833-E4A17A5DE9C1}" dt="2024-01-23T14:33:24.134" v="592"/>
          <ac:picMkLst>
            <pc:docMk/>
            <pc:sldMk cId="3396422946" sldId="311"/>
            <ac:picMk id="6" creationId="{683672E5-5E85-AC7C-5BFE-7727E800B95C}"/>
          </ac:picMkLst>
        </pc:picChg>
        <pc:picChg chg="add mod">
          <ac:chgData name="Gabriele Zanoletti" userId="fc6666fa-3441-4ddc-a8b9-f69fbbdf5644" providerId="ADAL" clId="{F2571258-CC26-4B12-B833-E4A17A5DE9C1}" dt="2024-01-23T14:33:31.817" v="595" actId="1076"/>
          <ac:picMkLst>
            <pc:docMk/>
            <pc:sldMk cId="3396422946" sldId="311"/>
            <ac:picMk id="8" creationId="{E903D300-5AAB-6B6C-8C2B-60B22BF5044A}"/>
          </ac:picMkLst>
        </pc:picChg>
        <pc:picChg chg="add mod">
          <ac:chgData name="Gabriele Zanoletti" userId="fc6666fa-3441-4ddc-a8b9-f69fbbdf5644" providerId="ADAL" clId="{F2571258-CC26-4B12-B833-E4A17A5DE9C1}" dt="2024-01-23T14:33:32.400" v="596" actId="1076"/>
          <ac:picMkLst>
            <pc:docMk/>
            <pc:sldMk cId="3396422946" sldId="311"/>
            <ac:picMk id="10" creationId="{6835F376-4F03-1778-3727-05F4CF48EAC0}"/>
          </ac:picMkLst>
        </pc:picChg>
        <pc:picChg chg="add mod">
          <ac:chgData name="Gabriele Zanoletti" userId="fc6666fa-3441-4ddc-a8b9-f69fbbdf5644" providerId="ADAL" clId="{F2571258-CC26-4B12-B833-E4A17A5DE9C1}" dt="2024-01-23T14:33:24.134" v="592"/>
          <ac:picMkLst>
            <pc:docMk/>
            <pc:sldMk cId="3396422946" sldId="311"/>
            <ac:picMk id="12" creationId="{4348A8C8-32BF-C265-241D-8F7923D0043F}"/>
          </ac:picMkLst>
        </pc:picChg>
        <pc:picChg chg="add mod">
          <ac:chgData name="Gabriele Zanoletti" userId="fc6666fa-3441-4ddc-a8b9-f69fbbdf5644" providerId="ADAL" clId="{F2571258-CC26-4B12-B833-E4A17A5DE9C1}" dt="2024-01-24T10:02:59.863" v="7322" actId="1036"/>
          <ac:picMkLst>
            <pc:docMk/>
            <pc:sldMk cId="3396422946" sldId="311"/>
            <ac:picMk id="14" creationId="{8283BE16-B21A-858E-A611-039B3511E38B}"/>
          </ac:picMkLst>
        </pc:picChg>
        <pc:picChg chg="add mod">
          <ac:chgData name="Gabriele Zanoletti" userId="fc6666fa-3441-4ddc-a8b9-f69fbbdf5644" providerId="ADAL" clId="{F2571258-CC26-4B12-B833-E4A17A5DE9C1}" dt="2024-01-24T10:03:22.927" v="7354" actId="1036"/>
          <ac:picMkLst>
            <pc:docMk/>
            <pc:sldMk cId="3396422946" sldId="311"/>
            <ac:picMk id="16" creationId="{8BB9BB2C-E93E-631F-51D4-D3C5500AAFE9}"/>
          </ac:picMkLst>
        </pc:picChg>
        <pc:picChg chg="add mod">
          <ac:chgData name="Gabriele Zanoletti" userId="fc6666fa-3441-4ddc-a8b9-f69fbbdf5644" providerId="ADAL" clId="{F2571258-CC26-4B12-B833-E4A17A5DE9C1}" dt="2024-01-24T10:03:22.927" v="7354" actId="1036"/>
          <ac:picMkLst>
            <pc:docMk/>
            <pc:sldMk cId="3396422946" sldId="311"/>
            <ac:picMk id="18" creationId="{B2715800-E525-7562-CD49-D3A8D2FA632E}"/>
          </ac:picMkLst>
        </pc:picChg>
        <pc:picChg chg="add mod">
          <ac:chgData name="Gabriele Zanoletti" userId="fc6666fa-3441-4ddc-a8b9-f69fbbdf5644" providerId="ADAL" clId="{F2571258-CC26-4B12-B833-E4A17A5DE9C1}" dt="2024-01-24T10:02:59.863" v="7322" actId="1036"/>
          <ac:picMkLst>
            <pc:docMk/>
            <pc:sldMk cId="3396422946" sldId="311"/>
            <ac:picMk id="20" creationId="{52BEAF40-B94A-FA4E-4427-929F75B6FBDA}"/>
          </ac:picMkLst>
        </pc:picChg>
      </pc:sldChg>
      <pc:sldChg chg="addSp modSp new mod">
        <pc:chgData name="Gabriele Zanoletti" userId="fc6666fa-3441-4ddc-a8b9-f69fbbdf5644" providerId="ADAL" clId="{F2571258-CC26-4B12-B833-E4A17A5DE9C1}" dt="2024-01-24T10:01:00.895" v="7195" actId="5793"/>
        <pc:sldMkLst>
          <pc:docMk/>
          <pc:sldMk cId="1829445697" sldId="312"/>
        </pc:sldMkLst>
        <pc:spChg chg="mod">
          <ac:chgData name="Gabriele Zanoletti" userId="fc6666fa-3441-4ddc-a8b9-f69fbbdf5644" providerId="ADAL" clId="{F2571258-CC26-4B12-B833-E4A17A5DE9C1}" dt="2024-01-23T15:15:03.068" v="1615" actId="20577"/>
          <ac:spMkLst>
            <pc:docMk/>
            <pc:sldMk cId="1829445697" sldId="312"/>
            <ac:spMk id="2" creationId="{793736D8-6786-EB55-F087-EB850260E505}"/>
          </ac:spMkLst>
        </pc:spChg>
        <pc:spChg chg="add mod">
          <ac:chgData name="Gabriele Zanoletti" userId="fc6666fa-3441-4ddc-a8b9-f69fbbdf5644" providerId="ADAL" clId="{F2571258-CC26-4B12-B833-E4A17A5DE9C1}" dt="2024-01-24T09:59:37.445" v="7182"/>
          <ac:spMkLst>
            <pc:docMk/>
            <pc:sldMk cId="1829445697" sldId="312"/>
            <ac:spMk id="5" creationId="{CB9F662C-B761-0335-F627-7FA310D406BE}"/>
          </ac:spMkLst>
        </pc:spChg>
        <pc:spChg chg="add mod">
          <ac:chgData name="Gabriele Zanoletti" userId="fc6666fa-3441-4ddc-a8b9-f69fbbdf5644" providerId="ADAL" clId="{F2571258-CC26-4B12-B833-E4A17A5DE9C1}" dt="2024-01-24T10:01:00.895" v="7195" actId="5793"/>
          <ac:spMkLst>
            <pc:docMk/>
            <pc:sldMk cId="1829445697" sldId="312"/>
            <ac:spMk id="8" creationId="{DD7A76E7-5E98-B5DE-0283-D33AF8F5ABFF}"/>
          </ac:spMkLst>
        </pc:spChg>
        <pc:picChg chg="add mod modCrop">
          <ac:chgData name="Gabriele Zanoletti" userId="fc6666fa-3441-4ddc-a8b9-f69fbbdf5644" providerId="ADAL" clId="{F2571258-CC26-4B12-B833-E4A17A5DE9C1}" dt="2024-01-24T09:59:48.809" v="7186" actId="1076"/>
          <ac:picMkLst>
            <pc:docMk/>
            <pc:sldMk cId="1829445697" sldId="312"/>
            <ac:picMk id="6" creationId="{98E5343E-8EAB-3F9C-2395-6AE0E7D9D570}"/>
          </ac:picMkLst>
        </pc:picChg>
        <pc:picChg chg="add">
          <ac:chgData name="Gabriele Zanoletti" userId="fc6666fa-3441-4ddc-a8b9-f69fbbdf5644" providerId="ADAL" clId="{F2571258-CC26-4B12-B833-E4A17A5DE9C1}" dt="2024-01-24T09:59:37.507" v="7183"/>
          <ac:picMkLst>
            <pc:docMk/>
            <pc:sldMk cId="1829445697" sldId="312"/>
            <ac:picMk id="7" creationId="{E33D72CA-A121-A80B-DA8F-52A1AA6C39AF}"/>
          </ac:picMkLst>
        </pc:picChg>
      </pc:sldChg>
      <pc:sldChg chg="addSp modSp new mod">
        <pc:chgData name="Gabriele Zanoletti" userId="fc6666fa-3441-4ddc-a8b9-f69fbbdf5644" providerId="ADAL" clId="{F2571258-CC26-4B12-B833-E4A17A5DE9C1}" dt="2024-01-23T14:37:03.204" v="629" actId="1076"/>
        <pc:sldMkLst>
          <pc:docMk/>
          <pc:sldMk cId="4109715435" sldId="313"/>
        </pc:sldMkLst>
        <pc:picChg chg="add mod">
          <ac:chgData name="Gabriele Zanoletti" userId="fc6666fa-3441-4ddc-a8b9-f69fbbdf5644" providerId="ADAL" clId="{F2571258-CC26-4B12-B833-E4A17A5DE9C1}" dt="2024-01-23T14:37:03.204" v="629" actId="1076"/>
          <ac:picMkLst>
            <pc:docMk/>
            <pc:sldMk cId="4109715435" sldId="313"/>
            <ac:picMk id="6" creationId="{081E3E13-A1F1-4FF3-9F97-8D0431E79976}"/>
          </ac:picMkLst>
        </pc:picChg>
      </pc:sldChg>
      <pc:sldChg chg="addSp modSp new mod">
        <pc:chgData name="Gabriele Zanoletti" userId="fc6666fa-3441-4ddc-a8b9-f69fbbdf5644" providerId="ADAL" clId="{F2571258-CC26-4B12-B833-E4A17A5DE9C1}" dt="2024-01-24T11:09:54.271" v="9319" actId="20577"/>
        <pc:sldMkLst>
          <pc:docMk/>
          <pc:sldMk cId="2059814184" sldId="314"/>
        </pc:sldMkLst>
        <pc:spChg chg="mod">
          <ac:chgData name="Gabriele Zanoletti" userId="fc6666fa-3441-4ddc-a8b9-f69fbbdf5644" providerId="ADAL" clId="{F2571258-CC26-4B12-B833-E4A17A5DE9C1}" dt="2024-01-23T15:16:52.414" v="1674" actId="20577"/>
          <ac:spMkLst>
            <pc:docMk/>
            <pc:sldMk cId="2059814184" sldId="314"/>
            <ac:spMk id="2" creationId="{509CB6E0-7C4E-FA68-855F-FA3F11EF009A}"/>
          </ac:spMkLst>
        </pc:spChg>
        <pc:spChg chg="add mod">
          <ac:chgData name="Gabriele Zanoletti" userId="fc6666fa-3441-4ddc-a8b9-f69fbbdf5644" providerId="ADAL" clId="{F2571258-CC26-4B12-B833-E4A17A5DE9C1}" dt="2024-01-24T11:09:54.271" v="9319" actId="20577"/>
          <ac:spMkLst>
            <pc:docMk/>
            <pc:sldMk cId="2059814184" sldId="314"/>
            <ac:spMk id="5" creationId="{455070FB-8C32-F7F3-CE34-8A53AF8479B2}"/>
          </ac:spMkLst>
        </pc:spChg>
        <pc:picChg chg="add mod">
          <ac:chgData name="Gabriele Zanoletti" userId="fc6666fa-3441-4ddc-a8b9-f69fbbdf5644" providerId="ADAL" clId="{F2571258-CC26-4B12-B833-E4A17A5DE9C1}" dt="2024-01-24T10:50:37.420" v="8584" actId="1038"/>
          <ac:picMkLst>
            <pc:docMk/>
            <pc:sldMk cId="2059814184" sldId="314"/>
            <ac:picMk id="6" creationId="{4B972F37-FC92-BB03-CCE4-48CFD677FE9A}"/>
          </ac:picMkLst>
        </pc:picChg>
        <pc:picChg chg="add mod">
          <ac:chgData name="Gabriele Zanoletti" userId="fc6666fa-3441-4ddc-a8b9-f69fbbdf5644" providerId="ADAL" clId="{F2571258-CC26-4B12-B833-E4A17A5DE9C1}" dt="2024-01-24T10:50:11.535" v="8565" actId="1076"/>
          <ac:picMkLst>
            <pc:docMk/>
            <pc:sldMk cId="2059814184" sldId="314"/>
            <ac:picMk id="7" creationId="{167B2A6D-40F8-948F-400B-BA790A343BDB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10:59:33.873" v="8728" actId="1076"/>
        <pc:sldMkLst>
          <pc:docMk/>
          <pc:sldMk cId="3439177903" sldId="315"/>
        </pc:sldMkLst>
        <pc:spChg chg="mod">
          <ac:chgData name="Gabriele Zanoletti" userId="fc6666fa-3441-4ddc-a8b9-f69fbbdf5644" providerId="ADAL" clId="{F2571258-CC26-4B12-B833-E4A17A5DE9C1}" dt="2024-01-23T15:16:55.589" v="1675" actId="20577"/>
          <ac:spMkLst>
            <pc:docMk/>
            <pc:sldMk cId="3439177903" sldId="315"/>
            <ac:spMk id="2" creationId="{269EADC7-9785-5346-94A3-EAE0A512B506}"/>
          </ac:spMkLst>
        </pc:spChg>
        <pc:spChg chg="add del mod">
          <ac:chgData name="Gabriele Zanoletti" userId="fc6666fa-3441-4ddc-a8b9-f69fbbdf5644" providerId="ADAL" clId="{F2571258-CC26-4B12-B833-E4A17A5DE9C1}" dt="2024-01-24T10:55:03.060" v="8602" actId="478"/>
          <ac:spMkLst>
            <pc:docMk/>
            <pc:sldMk cId="3439177903" sldId="315"/>
            <ac:spMk id="5" creationId="{3FE6A5CD-F0FE-705A-0A93-81EB7DCD9F12}"/>
          </ac:spMkLst>
        </pc:spChg>
        <pc:spChg chg="del">
          <ac:chgData name="Gabriele Zanoletti" userId="fc6666fa-3441-4ddc-a8b9-f69fbbdf5644" providerId="ADAL" clId="{F2571258-CC26-4B12-B833-E4A17A5DE9C1}" dt="2024-01-24T10:51:26.861" v="8598" actId="478"/>
          <ac:spMkLst>
            <pc:docMk/>
            <pc:sldMk cId="3439177903" sldId="315"/>
            <ac:spMk id="7" creationId="{C4C8B730-7D2A-5B96-CC9D-40BB7627C92F}"/>
          </ac:spMkLst>
        </pc:spChg>
        <pc:spChg chg="add mod">
          <ac:chgData name="Gabriele Zanoletti" userId="fc6666fa-3441-4ddc-a8b9-f69fbbdf5644" providerId="ADAL" clId="{F2571258-CC26-4B12-B833-E4A17A5DE9C1}" dt="2024-01-24T10:59:33.873" v="8728" actId="1076"/>
          <ac:spMkLst>
            <pc:docMk/>
            <pc:sldMk cId="3439177903" sldId="315"/>
            <ac:spMk id="9" creationId="{CA8D1E0E-88C4-4524-2B2A-FAD48C3791E6}"/>
          </ac:spMkLst>
        </pc:spChg>
        <pc:picChg chg="add mod">
          <ac:chgData name="Gabriele Zanoletti" userId="fc6666fa-3441-4ddc-a8b9-f69fbbdf5644" providerId="ADAL" clId="{F2571258-CC26-4B12-B833-E4A17A5DE9C1}" dt="2024-01-24T10:59:29.928" v="8726" actId="1076"/>
          <ac:picMkLst>
            <pc:docMk/>
            <pc:sldMk cId="3439177903" sldId="315"/>
            <ac:picMk id="6" creationId="{214EBBD2-EB0F-7D0A-E235-25CCBE080207}"/>
          </ac:picMkLst>
        </pc:picChg>
      </pc:sldChg>
      <pc:sldChg chg="addSp delSp modSp new mod modCm">
        <pc:chgData name="Gabriele Zanoletti" userId="fc6666fa-3441-4ddc-a8b9-f69fbbdf5644" providerId="ADAL" clId="{F2571258-CC26-4B12-B833-E4A17A5DE9C1}" dt="2024-01-24T11:22:28.885" v="9725" actId="404"/>
        <pc:sldMkLst>
          <pc:docMk/>
          <pc:sldMk cId="2060001824" sldId="316"/>
        </pc:sldMkLst>
        <pc:spChg chg="mod">
          <ac:chgData name="Gabriele Zanoletti" userId="fc6666fa-3441-4ddc-a8b9-f69fbbdf5644" providerId="ADAL" clId="{F2571258-CC26-4B12-B833-E4A17A5DE9C1}" dt="2024-01-23T15:17:18.311" v="1708" actId="20577"/>
          <ac:spMkLst>
            <pc:docMk/>
            <pc:sldMk cId="2060001824" sldId="316"/>
            <ac:spMk id="2" creationId="{A756B1FB-9540-2596-7D4B-27C539B10990}"/>
          </ac:spMkLst>
        </pc:spChg>
        <pc:spChg chg="add mod">
          <ac:chgData name="Gabriele Zanoletti" userId="fc6666fa-3441-4ddc-a8b9-f69fbbdf5644" providerId="ADAL" clId="{F2571258-CC26-4B12-B833-E4A17A5DE9C1}" dt="2024-01-24T11:22:28.885" v="9725" actId="404"/>
          <ac:spMkLst>
            <pc:docMk/>
            <pc:sldMk cId="2060001824" sldId="316"/>
            <ac:spMk id="5" creationId="{4D8C1AFE-9FC8-D964-65F9-2D18A5E0163C}"/>
          </ac:spMkLst>
        </pc:spChg>
        <pc:picChg chg="add del mod">
          <ac:chgData name="Gabriele Zanoletti" userId="fc6666fa-3441-4ddc-a8b9-f69fbbdf5644" providerId="ADAL" clId="{F2571258-CC26-4B12-B833-E4A17A5DE9C1}" dt="2024-01-23T14:46:02.916" v="668" actId="21"/>
          <ac:picMkLst>
            <pc:docMk/>
            <pc:sldMk cId="2060001824" sldId="316"/>
            <ac:picMk id="6" creationId="{BBFA030D-017B-5F47-AC86-5F3EC5699C5E}"/>
          </ac:picMkLst>
        </pc:picChg>
        <pc:picChg chg="add mod modCrop">
          <ac:chgData name="Gabriele Zanoletti" userId="fc6666fa-3441-4ddc-a8b9-f69fbbdf5644" providerId="ADAL" clId="{F2571258-CC26-4B12-B833-E4A17A5DE9C1}" dt="2024-01-23T14:42:58.147" v="666" actId="14100"/>
          <ac:picMkLst>
            <pc:docMk/>
            <pc:sldMk cId="2060001824" sldId="316"/>
            <ac:picMk id="8" creationId="{55F14D0B-A156-44FC-A549-437B4755EDFE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Gabriele Zanoletti" userId="fc6666fa-3441-4ddc-a8b9-f69fbbdf5644" providerId="ADAL" clId="{F2571258-CC26-4B12-B833-E4A17A5DE9C1}" dt="2024-01-24T07:49:01.924" v="3117"/>
              <pc2:cmMkLst xmlns:pc2="http://schemas.microsoft.com/office/powerpoint/2019/9/main/command">
                <pc:docMk/>
                <pc:sldMk cId="2060001824" sldId="316"/>
                <pc2:cmMk id="{EB56E472-2FD7-44A6-B634-1CE338E37EBE}"/>
              </pc2:cmMkLst>
              <pc226:cmRplyChg chg="add">
                <pc226:chgData name="Gabriele Zanoletti" userId="fc6666fa-3441-4ddc-a8b9-f69fbbdf5644" providerId="ADAL" clId="{F2571258-CC26-4B12-B833-E4A17A5DE9C1}" dt="2024-01-24T07:49:01.924" v="3117"/>
                <pc2:cmRplyMkLst xmlns:pc2="http://schemas.microsoft.com/office/powerpoint/2019/9/main/command">
                  <pc:docMk/>
                  <pc:sldMk cId="2060001824" sldId="316"/>
                  <pc2:cmMk id="{EB56E472-2FD7-44A6-B634-1CE338E37EBE}"/>
                  <pc2:cmRplyMk id="{B3DF4DA5-65E8-47E6-B3B9-64FE597D93C3}"/>
                </pc2:cmRplyMkLst>
              </pc226:cmRplyChg>
            </pc226:cmChg>
            <pc226:cmChg xmlns:pc226="http://schemas.microsoft.com/office/powerpoint/2022/06/main/command" chg="">
              <pc226:chgData name="Gabriele Zanoletti" userId="fc6666fa-3441-4ddc-a8b9-f69fbbdf5644" providerId="ADAL" clId="{F2571258-CC26-4B12-B833-E4A17A5DE9C1}" dt="2024-01-24T07:50:07.560" v="3118"/>
              <pc2:cmMkLst xmlns:pc2="http://schemas.microsoft.com/office/powerpoint/2019/9/main/command">
                <pc:docMk/>
                <pc:sldMk cId="2060001824" sldId="316"/>
                <pc2:cmMk id="{64EC8879-8C64-4200-BB54-2E6B6F14DD03}"/>
              </pc2:cmMkLst>
              <pc226:cmRplyChg chg="add">
                <pc226:chgData name="Gabriele Zanoletti" userId="fc6666fa-3441-4ddc-a8b9-f69fbbdf5644" providerId="ADAL" clId="{F2571258-CC26-4B12-B833-E4A17A5DE9C1}" dt="2024-01-24T07:50:07.560" v="3118"/>
                <pc2:cmRplyMkLst xmlns:pc2="http://schemas.microsoft.com/office/powerpoint/2019/9/main/command">
                  <pc:docMk/>
                  <pc:sldMk cId="2060001824" sldId="316"/>
                  <pc2:cmMk id="{64EC8879-8C64-4200-BB54-2E6B6F14DD03}"/>
                  <pc2:cmRplyMk id="{B28AADC6-06C5-4841-A1E0-3C2EEA1A0452}"/>
                </pc2:cmRplyMkLst>
              </pc226:cmRplyChg>
            </pc226:cmChg>
          </p:ext>
        </pc:extLst>
      </pc:sldChg>
      <pc:sldChg chg="addSp delSp modSp new mod ord">
        <pc:chgData name="Gabriele Zanoletti" userId="fc6666fa-3441-4ddc-a8b9-f69fbbdf5644" providerId="ADAL" clId="{F2571258-CC26-4B12-B833-E4A17A5DE9C1}" dt="2024-01-24T11:07:26.350" v="9227" actId="20577"/>
        <pc:sldMkLst>
          <pc:docMk/>
          <pc:sldMk cId="4110969131" sldId="317"/>
        </pc:sldMkLst>
        <pc:spChg chg="mod">
          <ac:chgData name="Gabriele Zanoletti" userId="fc6666fa-3441-4ddc-a8b9-f69fbbdf5644" providerId="ADAL" clId="{F2571258-CC26-4B12-B833-E4A17A5DE9C1}" dt="2024-01-23T15:17:30.242" v="1726" actId="20577"/>
          <ac:spMkLst>
            <pc:docMk/>
            <pc:sldMk cId="4110969131" sldId="317"/>
            <ac:spMk id="2" creationId="{A22F9CB1-AC90-8475-C8E1-97FF6580DE7E}"/>
          </ac:spMkLst>
        </pc:spChg>
        <pc:spChg chg="add mod">
          <ac:chgData name="Gabriele Zanoletti" userId="fc6666fa-3441-4ddc-a8b9-f69fbbdf5644" providerId="ADAL" clId="{F2571258-CC26-4B12-B833-E4A17A5DE9C1}" dt="2024-01-24T11:07:26.350" v="9227" actId="20577"/>
          <ac:spMkLst>
            <pc:docMk/>
            <pc:sldMk cId="4110969131" sldId="317"/>
            <ac:spMk id="5" creationId="{457659C7-3B83-6EE4-1CF7-171FEED7DAF4}"/>
          </ac:spMkLst>
        </pc:spChg>
        <pc:picChg chg="add mod">
          <ac:chgData name="Gabriele Zanoletti" userId="fc6666fa-3441-4ddc-a8b9-f69fbbdf5644" providerId="ADAL" clId="{F2571258-CC26-4B12-B833-E4A17A5DE9C1}" dt="2024-01-24T11:05:28.964" v="9144" actId="1076"/>
          <ac:picMkLst>
            <pc:docMk/>
            <pc:sldMk cId="4110969131" sldId="317"/>
            <ac:picMk id="6" creationId="{BBFA030D-017B-5F47-AC86-5F3EC5699C5E}"/>
          </ac:picMkLst>
        </pc:picChg>
        <pc:picChg chg="add del mod">
          <ac:chgData name="Gabriele Zanoletti" userId="fc6666fa-3441-4ddc-a8b9-f69fbbdf5644" providerId="ADAL" clId="{F2571258-CC26-4B12-B833-E4A17A5DE9C1}" dt="2024-01-23T14:50:42.804" v="678" actId="478"/>
          <ac:picMkLst>
            <pc:docMk/>
            <pc:sldMk cId="4110969131" sldId="317"/>
            <ac:picMk id="7" creationId="{85FF7DE4-E84D-4696-A8DC-720E48C7C718}"/>
          </ac:picMkLst>
        </pc:picChg>
      </pc:sldChg>
      <pc:sldChg chg="addSp modSp new del mod">
        <pc:chgData name="Gabriele Zanoletti" userId="fc6666fa-3441-4ddc-a8b9-f69fbbdf5644" providerId="ADAL" clId="{F2571258-CC26-4B12-B833-E4A17A5DE9C1}" dt="2024-01-23T14:52:39.790" v="696" actId="47"/>
        <pc:sldMkLst>
          <pc:docMk/>
          <pc:sldMk cId="989667037" sldId="318"/>
        </pc:sldMkLst>
        <pc:picChg chg="add mod modCrop">
          <ac:chgData name="Gabriele Zanoletti" userId="fc6666fa-3441-4ddc-a8b9-f69fbbdf5644" providerId="ADAL" clId="{F2571258-CC26-4B12-B833-E4A17A5DE9C1}" dt="2024-01-23T14:51:17.704" v="689" actId="14100"/>
          <ac:picMkLst>
            <pc:docMk/>
            <pc:sldMk cId="989667037" sldId="318"/>
            <ac:picMk id="6" creationId="{706280E7-5456-BA43-0719-118F97AE59B9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11:27:36.464" v="9936" actId="20577"/>
        <pc:sldMkLst>
          <pc:docMk/>
          <pc:sldMk cId="2600840893" sldId="319"/>
        </pc:sldMkLst>
        <pc:spChg chg="mod">
          <ac:chgData name="Gabriele Zanoletti" userId="fc6666fa-3441-4ddc-a8b9-f69fbbdf5644" providerId="ADAL" clId="{F2571258-CC26-4B12-B833-E4A17A5DE9C1}" dt="2024-01-23T15:17:49.897" v="1727"/>
          <ac:spMkLst>
            <pc:docMk/>
            <pc:sldMk cId="2600840893" sldId="319"/>
            <ac:spMk id="2" creationId="{16DB9D3C-9CCE-D1F9-3064-F64D8ABE9A78}"/>
          </ac:spMkLst>
        </pc:spChg>
        <pc:spChg chg="add mod">
          <ac:chgData name="Gabriele Zanoletti" userId="fc6666fa-3441-4ddc-a8b9-f69fbbdf5644" providerId="ADAL" clId="{F2571258-CC26-4B12-B833-E4A17A5DE9C1}" dt="2024-01-24T11:27:36.464" v="9936" actId="20577"/>
          <ac:spMkLst>
            <pc:docMk/>
            <pc:sldMk cId="2600840893" sldId="319"/>
            <ac:spMk id="5" creationId="{06ABB142-F7C0-6F40-75FE-F5031C064065}"/>
          </ac:spMkLst>
        </pc:spChg>
        <pc:picChg chg="del">
          <ac:chgData name="Gabriele Zanoletti" userId="fc6666fa-3441-4ddc-a8b9-f69fbbdf5644" providerId="ADAL" clId="{F2571258-CC26-4B12-B833-E4A17A5DE9C1}" dt="2024-01-23T14:51:25.246" v="691" actId="478"/>
          <ac:picMkLst>
            <pc:docMk/>
            <pc:sldMk cId="2600840893" sldId="319"/>
            <ac:picMk id="6" creationId="{706280E7-5456-BA43-0719-118F97AE59B9}"/>
          </ac:picMkLst>
        </pc:picChg>
        <pc:picChg chg="add mod">
          <ac:chgData name="Gabriele Zanoletti" userId="fc6666fa-3441-4ddc-a8b9-f69fbbdf5644" providerId="ADAL" clId="{F2571258-CC26-4B12-B833-E4A17A5DE9C1}" dt="2024-01-24T11:27:08.401" v="9912" actId="1036"/>
          <ac:picMkLst>
            <pc:docMk/>
            <pc:sldMk cId="2600840893" sldId="319"/>
            <ac:picMk id="7" creationId="{94FD2E80-92B9-3907-CBE1-85408BA99064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11:33:46.811" v="10110" actId="1076"/>
        <pc:sldMkLst>
          <pc:docMk/>
          <pc:sldMk cId="2371849535" sldId="320"/>
        </pc:sldMkLst>
        <pc:spChg chg="mod">
          <ac:chgData name="Gabriele Zanoletti" userId="fc6666fa-3441-4ddc-a8b9-f69fbbdf5644" providerId="ADAL" clId="{F2571258-CC26-4B12-B833-E4A17A5DE9C1}" dt="2024-01-23T15:18:33.050" v="1780" actId="20577"/>
          <ac:spMkLst>
            <pc:docMk/>
            <pc:sldMk cId="2371849535" sldId="320"/>
            <ac:spMk id="2" creationId="{5E0C03EA-E9A5-1D99-BB3A-CD23664A6BC5}"/>
          </ac:spMkLst>
        </pc:spChg>
        <pc:spChg chg="add mod">
          <ac:chgData name="Gabriele Zanoletti" userId="fc6666fa-3441-4ddc-a8b9-f69fbbdf5644" providerId="ADAL" clId="{F2571258-CC26-4B12-B833-E4A17A5DE9C1}" dt="2024-01-24T11:33:35.598" v="10105" actId="14100"/>
          <ac:spMkLst>
            <pc:docMk/>
            <pc:sldMk cId="2371849535" sldId="320"/>
            <ac:spMk id="5" creationId="{BF8C5357-5A8D-69D7-0B8F-A400C9B33D53}"/>
          </ac:spMkLst>
        </pc:spChg>
        <pc:picChg chg="add del mod modCrop">
          <ac:chgData name="Gabriele Zanoletti" userId="fc6666fa-3441-4ddc-a8b9-f69fbbdf5644" providerId="ADAL" clId="{F2571258-CC26-4B12-B833-E4A17A5DE9C1}" dt="2024-01-23T14:53:46.610" v="710" actId="478"/>
          <ac:picMkLst>
            <pc:docMk/>
            <pc:sldMk cId="2371849535" sldId="320"/>
            <ac:picMk id="6" creationId="{A155A373-45F5-E5F7-326D-1316C642325F}"/>
          </ac:picMkLst>
        </pc:picChg>
        <pc:picChg chg="add mod modCrop">
          <ac:chgData name="Gabriele Zanoletti" userId="fc6666fa-3441-4ddc-a8b9-f69fbbdf5644" providerId="ADAL" clId="{F2571258-CC26-4B12-B833-E4A17A5DE9C1}" dt="2024-01-24T11:33:46.811" v="10110" actId="1076"/>
          <ac:picMkLst>
            <pc:docMk/>
            <pc:sldMk cId="2371849535" sldId="320"/>
            <ac:picMk id="8" creationId="{AEB23DA9-9B65-F9DB-DB65-2C7B30BBB887}"/>
          </ac:picMkLst>
        </pc:picChg>
      </pc:sldChg>
      <pc:sldChg chg="modSp add mod">
        <pc:chgData name="Gabriele Zanoletti" userId="fc6666fa-3441-4ddc-a8b9-f69fbbdf5644" providerId="ADAL" clId="{F2571258-CC26-4B12-B833-E4A17A5DE9C1}" dt="2024-01-23T14:58:59.097" v="722" actId="113"/>
        <pc:sldMkLst>
          <pc:docMk/>
          <pc:sldMk cId="532413471" sldId="321"/>
        </pc:sldMkLst>
        <pc:spChg chg="mod">
          <ac:chgData name="Gabriele Zanoletti" userId="fc6666fa-3441-4ddc-a8b9-f69fbbdf5644" providerId="ADAL" clId="{F2571258-CC26-4B12-B833-E4A17A5DE9C1}" dt="2024-01-23T14:58:59.097" v="722" actId="113"/>
          <ac:spMkLst>
            <pc:docMk/>
            <pc:sldMk cId="532413471" sldId="321"/>
            <ac:spMk id="4" creationId="{1AC29BDC-7CB8-266E-07CF-D9D5D9169AC3}"/>
          </ac:spMkLst>
        </pc:spChg>
      </pc:sldChg>
      <pc:sldChg chg="modSp add mod">
        <pc:chgData name="Gabriele Zanoletti" userId="fc6666fa-3441-4ddc-a8b9-f69fbbdf5644" providerId="ADAL" clId="{F2571258-CC26-4B12-B833-E4A17A5DE9C1}" dt="2024-01-23T15:07:06.074" v="1075" actId="113"/>
        <pc:sldMkLst>
          <pc:docMk/>
          <pc:sldMk cId="902660526" sldId="322"/>
        </pc:sldMkLst>
        <pc:spChg chg="mod">
          <ac:chgData name="Gabriele Zanoletti" userId="fc6666fa-3441-4ddc-a8b9-f69fbbdf5644" providerId="ADAL" clId="{F2571258-CC26-4B12-B833-E4A17A5DE9C1}" dt="2024-01-23T15:07:06.074" v="1075" actId="113"/>
          <ac:spMkLst>
            <pc:docMk/>
            <pc:sldMk cId="902660526" sldId="322"/>
            <ac:spMk id="4" creationId="{1AC29BDC-7CB8-266E-07CF-D9D5D9169AC3}"/>
          </ac:spMkLst>
        </pc:spChg>
      </pc:sldChg>
      <pc:sldChg chg="modSp add mod">
        <pc:chgData name="Gabriele Zanoletti" userId="fc6666fa-3441-4ddc-a8b9-f69fbbdf5644" providerId="ADAL" clId="{F2571258-CC26-4B12-B833-E4A17A5DE9C1}" dt="2024-01-23T15:11:56.558" v="1361" actId="113"/>
        <pc:sldMkLst>
          <pc:docMk/>
          <pc:sldMk cId="3702300545" sldId="323"/>
        </pc:sldMkLst>
        <pc:spChg chg="mod">
          <ac:chgData name="Gabriele Zanoletti" userId="fc6666fa-3441-4ddc-a8b9-f69fbbdf5644" providerId="ADAL" clId="{F2571258-CC26-4B12-B833-E4A17A5DE9C1}" dt="2024-01-23T15:11:56.558" v="1361" actId="113"/>
          <ac:spMkLst>
            <pc:docMk/>
            <pc:sldMk cId="3702300545" sldId="323"/>
            <ac:spMk id="4" creationId="{1AC29BDC-7CB8-266E-07CF-D9D5D9169AC3}"/>
          </ac:spMkLst>
        </pc:spChg>
      </pc:sldChg>
      <pc:sldChg chg="modSp add mod">
        <pc:chgData name="Gabriele Zanoletti" userId="fc6666fa-3441-4ddc-a8b9-f69fbbdf5644" providerId="ADAL" clId="{F2571258-CC26-4B12-B833-E4A17A5DE9C1}" dt="2024-01-23T15:19:29.747" v="1783" actId="113"/>
        <pc:sldMkLst>
          <pc:docMk/>
          <pc:sldMk cId="2885120835" sldId="324"/>
        </pc:sldMkLst>
        <pc:spChg chg="mod">
          <ac:chgData name="Gabriele Zanoletti" userId="fc6666fa-3441-4ddc-a8b9-f69fbbdf5644" providerId="ADAL" clId="{F2571258-CC26-4B12-B833-E4A17A5DE9C1}" dt="2024-01-23T15:19:29.747" v="1783" actId="113"/>
          <ac:spMkLst>
            <pc:docMk/>
            <pc:sldMk cId="2885120835" sldId="324"/>
            <ac:spMk id="4" creationId="{1AC29BDC-7CB8-266E-07CF-D9D5D9169AC3}"/>
          </ac:spMkLst>
        </pc:spChg>
      </pc:sldChg>
      <pc:sldChg chg="modSp add mod">
        <pc:chgData name="Gabriele Zanoletti" userId="fc6666fa-3441-4ddc-a8b9-f69fbbdf5644" providerId="ADAL" clId="{F2571258-CC26-4B12-B833-E4A17A5DE9C1}" dt="2024-01-23T15:19:38.699" v="1786" actId="113"/>
        <pc:sldMkLst>
          <pc:docMk/>
          <pc:sldMk cId="2835239964" sldId="325"/>
        </pc:sldMkLst>
        <pc:spChg chg="mod">
          <ac:chgData name="Gabriele Zanoletti" userId="fc6666fa-3441-4ddc-a8b9-f69fbbdf5644" providerId="ADAL" clId="{F2571258-CC26-4B12-B833-E4A17A5DE9C1}" dt="2024-01-23T15:19:38.699" v="1786" actId="113"/>
          <ac:spMkLst>
            <pc:docMk/>
            <pc:sldMk cId="2835239964" sldId="325"/>
            <ac:spMk id="4" creationId="{1AC29BDC-7CB8-266E-07CF-D9D5D9169AC3}"/>
          </ac:spMkLst>
        </pc:spChg>
      </pc:sldChg>
      <pc:sldChg chg="modSp new mod">
        <pc:chgData name="Gabriele Zanoletti" userId="fc6666fa-3441-4ddc-a8b9-f69fbbdf5644" providerId="ADAL" clId="{F2571258-CC26-4B12-B833-E4A17A5DE9C1}" dt="2024-01-24T12:14:36.734" v="11101" actId="20577"/>
        <pc:sldMkLst>
          <pc:docMk/>
          <pc:sldMk cId="1343076952" sldId="326"/>
        </pc:sldMkLst>
        <pc:spChg chg="mod">
          <ac:chgData name="Gabriele Zanoletti" userId="fc6666fa-3441-4ddc-a8b9-f69fbbdf5644" providerId="ADAL" clId="{F2571258-CC26-4B12-B833-E4A17A5DE9C1}" dt="2024-01-24T12:14:36.734" v="11101" actId="20577"/>
          <ac:spMkLst>
            <pc:docMk/>
            <pc:sldMk cId="1343076952" sldId="326"/>
            <ac:spMk id="2" creationId="{145C7072-5EF5-6DF5-5FAB-D140D0531EC4}"/>
          </ac:spMkLst>
        </pc:spChg>
        <pc:spChg chg="mod">
          <ac:chgData name="Gabriele Zanoletti" userId="fc6666fa-3441-4ddc-a8b9-f69fbbdf5644" providerId="ADAL" clId="{F2571258-CC26-4B12-B833-E4A17A5DE9C1}" dt="2024-01-23T17:15:49.412" v="3073" actId="20577"/>
          <ac:spMkLst>
            <pc:docMk/>
            <pc:sldMk cId="1343076952" sldId="326"/>
            <ac:spMk id="3" creationId="{29BDDA70-D7E3-C17F-663E-2B5F6669930B}"/>
          </ac:spMkLst>
        </pc:spChg>
      </pc:sldChg>
      <pc:sldChg chg="new del">
        <pc:chgData name="Gabriele Zanoletti" userId="fc6666fa-3441-4ddc-a8b9-f69fbbdf5644" providerId="ADAL" clId="{F2571258-CC26-4B12-B833-E4A17A5DE9C1}" dt="2024-01-24T09:52:24.424" v="6784" actId="680"/>
        <pc:sldMkLst>
          <pc:docMk/>
          <pc:sldMk cId="1592627195" sldId="332"/>
        </pc:sldMkLst>
      </pc:sldChg>
    </pc:docChg>
  </pc:docChgLst>
  <pc:docChgLst>
    <pc:chgData name="Luca Ricci" userId="S::10451631@polimi.it::ee5f09d5-0832-4e68-94c9-d8bfd2ad04f0" providerId="AD" clId="Web-{FE7C741D-44D6-EDC1-2356-2BC66BDF72B9}"/>
    <pc:docChg chg="modSld">
      <pc:chgData name="Luca Ricci" userId="S::10451631@polimi.it::ee5f09d5-0832-4e68-94c9-d8bfd2ad04f0" providerId="AD" clId="Web-{FE7C741D-44D6-EDC1-2356-2BC66BDF72B9}" dt="2024-01-24T10:53:07.909" v="13"/>
      <pc:docMkLst>
        <pc:docMk/>
      </pc:docMkLst>
      <pc:sldChg chg="addSp delSp modSp">
        <pc:chgData name="Luca Ricci" userId="S::10451631@polimi.it::ee5f09d5-0832-4e68-94c9-d8bfd2ad04f0" providerId="AD" clId="Web-{FE7C741D-44D6-EDC1-2356-2BC66BDF72B9}" dt="2024-01-24T10:53:07.909" v="13"/>
        <pc:sldMkLst>
          <pc:docMk/>
          <pc:sldMk cId="4109715435" sldId="313"/>
        </pc:sldMkLst>
        <pc:picChg chg="add del mod">
          <ac:chgData name="Luca Ricci" userId="S::10451631@polimi.it::ee5f09d5-0832-4e68-94c9-d8bfd2ad04f0" providerId="AD" clId="Web-{FE7C741D-44D6-EDC1-2356-2BC66BDF72B9}" dt="2024-01-24T10:53:07.909" v="13"/>
          <ac:picMkLst>
            <pc:docMk/>
            <pc:sldMk cId="4109715435" sldId="313"/>
            <ac:picMk id="5" creationId="{4FC8F0D0-3DD3-7001-94C0-6D0D366B9894}"/>
          </ac:picMkLst>
        </pc:picChg>
      </pc:sldChg>
      <pc:sldChg chg="addSp delSp modSp">
        <pc:chgData name="Luca Ricci" userId="S::10451631@polimi.it::ee5f09d5-0832-4e68-94c9-d8bfd2ad04f0" providerId="AD" clId="Web-{FE7C741D-44D6-EDC1-2356-2BC66BDF72B9}" dt="2024-01-24T10:52:05.375" v="11" actId="20577"/>
        <pc:sldMkLst>
          <pc:docMk/>
          <pc:sldMk cId="3439177903" sldId="315"/>
        </pc:sldMkLst>
        <pc:spChg chg="mod">
          <ac:chgData name="Luca Ricci" userId="S::10451631@polimi.it::ee5f09d5-0832-4e68-94c9-d8bfd2ad04f0" providerId="AD" clId="Web-{FE7C741D-44D6-EDC1-2356-2BC66BDF72B9}" dt="2024-01-24T10:52:05.375" v="11" actId="20577"/>
          <ac:spMkLst>
            <pc:docMk/>
            <pc:sldMk cId="3439177903" sldId="315"/>
            <ac:spMk id="5" creationId="{3FE6A5CD-F0FE-705A-0A93-81EB7DCD9F12}"/>
          </ac:spMkLst>
        </pc:spChg>
        <pc:spChg chg="add">
          <ac:chgData name="Luca Ricci" userId="S::10451631@polimi.it::ee5f09d5-0832-4e68-94c9-d8bfd2ad04f0" providerId="AD" clId="Web-{FE7C741D-44D6-EDC1-2356-2BC66BDF72B9}" dt="2024-01-24T10:51:11.263" v="0"/>
          <ac:spMkLst>
            <pc:docMk/>
            <pc:sldMk cId="3439177903" sldId="315"/>
            <ac:spMk id="7" creationId="{C4C8B730-7D2A-5B96-CC9D-40BB7627C92F}"/>
          </ac:spMkLst>
        </pc:spChg>
        <pc:spChg chg="add del">
          <ac:chgData name="Luca Ricci" userId="S::10451631@polimi.it::ee5f09d5-0832-4e68-94c9-d8bfd2ad04f0" providerId="AD" clId="Web-{FE7C741D-44D6-EDC1-2356-2BC66BDF72B9}" dt="2024-01-24T10:51:17.795" v="2"/>
          <ac:spMkLst>
            <pc:docMk/>
            <pc:sldMk cId="3439177903" sldId="315"/>
            <ac:spMk id="8" creationId="{45EC5BB0-0D73-05A7-F47F-4F7C3BF4D374}"/>
          </ac:spMkLst>
        </pc:spChg>
      </pc:sldChg>
    </pc:docChg>
  </pc:docChgLst>
  <pc:docChgLst>
    <pc:chgData name="Gabriele Zanoletti" userId="fc6666fa-3441-4ddc-a8b9-f69fbbdf5644" providerId="ADAL" clId="{CBDFB5E6-1FA1-4DE7-A201-1F4BA4E764AC}"/>
    <pc:docChg chg="custSel modSld">
      <pc:chgData name="Gabriele Zanoletti" userId="fc6666fa-3441-4ddc-a8b9-f69fbbdf5644" providerId="ADAL" clId="{CBDFB5E6-1FA1-4DE7-A201-1F4BA4E764AC}" dt="2024-01-26T08:53:43.333" v="81" actId="368"/>
      <pc:docMkLst>
        <pc:docMk/>
      </pc:docMkLst>
      <pc:sldChg chg="modNotes">
        <pc:chgData name="Gabriele Zanoletti" userId="fc6666fa-3441-4ddc-a8b9-f69fbbdf5644" providerId="ADAL" clId="{CBDFB5E6-1FA1-4DE7-A201-1F4BA4E764AC}" dt="2024-01-26T08:53:43.333" v="81" actId="368"/>
        <pc:sldMkLst>
          <pc:docMk/>
          <pc:sldMk cId="895135860" sldId="257"/>
        </pc:sldMkLst>
      </pc:sldChg>
      <pc:sldChg chg="modNotes">
        <pc:chgData name="Gabriele Zanoletti" userId="fc6666fa-3441-4ddc-a8b9-f69fbbdf5644" providerId="ADAL" clId="{CBDFB5E6-1FA1-4DE7-A201-1F4BA4E764AC}" dt="2024-01-26T08:53:42.927" v="3" actId="368"/>
        <pc:sldMkLst>
          <pc:docMk/>
          <pc:sldMk cId="3601296254" sldId="258"/>
        </pc:sldMkLst>
      </pc:sldChg>
      <pc:sldChg chg="modNotes">
        <pc:chgData name="Gabriele Zanoletti" userId="fc6666fa-3441-4ddc-a8b9-f69fbbdf5644" providerId="ADAL" clId="{CBDFB5E6-1FA1-4DE7-A201-1F4BA4E764AC}" dt="2024-01-26T08:53:42.941" v="5" actId="368"/>
        <pc:sldMkLst>
          <pc:docMk/>
          <pc:sldMk cId="994454846" sldId="291"/>
        </pc:sldMkLst>
      </pc:sldChg>
      <pc:sldChg chg="modNotes">
        <pc:chgData name="Gabriele Zanoletti" userId="fc6666fa-3441-4ddc-a8b9-f69fbbdf5644" providerId="ADAL" clId="{CBDFB5E6-1FA1-4DE7-A201-1F4BA4E764AC}" dt="2024-01-26T08:53:42.957" v="7" actId="368"/>
        <pc:sldMkLst>
          <pc:docMk/>
          <pc:sldMk cId="3241623441" sldId="292"/>
        </pc:sldMkLst>
      </pc:sldChg>
      <pc:sldChg chg="modNotes">
        <pc:chgData name="Gabriele Zanoletti" userId="fc6666fa-3441-4ddc-a8b9-f69fbbdf5644" providerId="ADAL" clId="{CBDFB5E6-1FA1-4DE7-A201-1F4BA4E764AC}" dt="2024-01-26T08:53:42.969" v="9" actId="368"/>
        <pc:sldMkLst>
          <pc:docMk/>
          <pc:sldMk cId="692283471" sldId="293"/>
        </pc:sldMkLst>
      </pc:sldChg>
      <pc:sldChg chg="modNotes">
        <pc:chgData name="Gabriele Zanoletti" userId="fc6666fa-3441-4ddc-a8b9-f69fbbdf5644" providerId="ADAL" clId="{CBDFB5E6-1FA1-4DE7-A201-1F4BA4E764AC}" dt="2024-01-26T08:53:42.980" v="11" actId="368"/>
        <pc:sldMkLst>
          <pc:docMk/>
          <pc:sldMk cId="2858633819" sldId="294"/>
        </pc:sldMkLst>
      </pc:sldChg>
      <pc:sldChg chg="modNotes">
        <pc:chgData name="Gabriele Zanoletti" userId="fc6666fa-3441-4ddc-a8b9-f69fbbdf5644" providerId="ADAL" clId="{CBDFB5E6-1FA1-4DE7-A201-1F4BA4E764AC}" dt="2024-01-26T08:53:43.006" v="15" actId="368"/>
        <pc:sldMkLst>
          <pc:docMk/>
          <pc:sldMk cId="1570471128" sldId="296"/>
        </pc:sldMkLst>
      </pc:sldChg>
      <pc:sldChg chg="modNotes">
        <pc:chgData name="Gabriele Zanoletti" userId="fc6666fa-3441-4ddc-a8b9-f69fbbdf5644" providerId="ADAL" clId="{CBDFB5E6-1FA1-4DE7-A201-1F4BA4E764AC}" dt="2024-01-26T08:53:43.021" v="17" actId="368"/>
        <pc:sldMkLst>
          <pc:docMk/>
          <pc:sldMk cId="1604505303" sldId="297"/>
        </pc:sldMkLst>
      </pc:sldChg>
      <pc:sldChg chg="modNotes">
        <pc:chgData name="Gabriele Zanoletti" userId="fc6666fa-3441-4ddc-a8b9-f69fbbdf5644" providerId="ADAL" clId="{CBDFB5E6-1FA1-4DE7-A201-1F4BA4E764AC}" dt="2024-01-26T08:53:43.062" v="25" actId="368"/>
        <pc:sldMkLst>
          <pc:docMk/>
          <pc:sldMk cId="1968516981" sldId="301"/>
        </pc:sldMkLst>
      </pc:sldChg>
      <pc:sldChg chg="modNotes">
        <pc:chgData name="Gabriele Zanoletti" userId="fc6666fa-3441-4ddc-a8b9-f69fbbdf5644" providerId="ADAL" clId="{CBDFB5E6-1FA1-4DE7-A201-1F4BA4E764AC}" dt="2024-01-26T08:53:43.073" v="27" actId="368"/>
        <pc:sldMkLst>
          <pc:docMk/>
          <pc:sldMk cId="3837282433" sldId="302"/>
        </pc:sldMkLst>
      </pc:sldChg>
      <pc:sldChg chg="modNotes">
        <pc:chgData name="Gabriele Zanoletti" userId="fc6666fa-3441-4ddc-a8b9-f69fbbdf5644" providerId="ADAL" clId="{CBDFB5E6-1FA1-4DE7-A201-1F4BA4E764AC}" dt="2024-01-26T08:53:43.083" v="29" actId="368"/>
        <pc:sldMkLst>
          <pc:docMk/>
          <pc:sldMk cId="786950877" sldId="303"/>
        </pc:sldMkLst>
      </pc:sldChg>
      <pc:sldChg chg="modNotes">
        <pc:chgData name="Gabriele Zanoletti" userId="fc6666fa-3441-4ddc-a8b9-f69fbbdf5644" providerId="ADAL" clId="{CBDFB5E6-1FA1-4DE7-A201-1F4BA4E764AC}" dt="2024-01-26T08:53:43.093" v="31" actId="368"/>
        <pc:sldMkLst>
          <pc:docMk/>
          <pc:sldMk cId="4147670638" sldId="304"/>
        </pc:sldMkLst>
      </pc:sldChg>
      <pc:sldChg chg="modNotes">
        <pc:chgData name="Gabriele Zanoletti" userId="fc6666fa-3441-4ddc-a8b9-f69fbbdf5644" providerId="ADAL" clId="{CBDFB5E6-1FA1-4DE7-A201-1F4BA4E764AC}" dt="2024-01-26T08:53:43.112" v="35" actId="368"/>
        <pc:sldMkLst>
          <pc:docMk/>
          <pc:sldMk cId="2129748764" sldId="305"/>
        </pc:sldMkLst>
      </pc:sldChg>
      <pc:sldChg chg="modNotes">
        <pc:chgData name="Gabriele Zanoletti" userId="fc6666fa-3441-4ddc-a8b9-f69fbbdf5644" providerId="ADAL" clId="{CBDFB5E6-1FA1-4DE7-A201-1F4BA4E764AC}" dt="2024-01-26T08:53:43.101" v="33" actId="368"/>
        <pc:sldMkLst>
          <pc:docMk/>
          <pc:sldMk cId="4004401706" sldId="306"/>
        </pc:sldMkLst>
      </pc:sldChg>
      <pc:sldChg chg="modNotes">
        <pc:chgData name="Gabriele Zanoletti" userId="fc6666fa-3441-4ddc-a8b9-f69fbbdf5644" providerId="ADAL" clId="{CBDFB5E6-1FA1-4DE7-A201-1F4BA4E764AC}" dt="2024-01-26T08:53:43.131" v="39" actId="368"/>
        <pc:sldMkLst>
          <pc:docMk/>
          <pc:sldMk cId="3230328343" sldId="307"/>
        </pc:sldMkLst>
      </pc:sldChg>
      <pc:sldChg chg="modNotes">
        <pc:chgData name="Gabriele Zanoletti" userId="fc6666fa-3441-4ddc-a8b9-f69fbbdf5644" providerId="ADAL" clId="{CBDFB5E6-1FA1-4DE7-A201-1F4BA4E764AC}" dt="2024-01-26T08:53:43.141" v="41" actId="368"/>
        <pc:sldMkLst>
          <pc:docMk/>
          <pc:sldMk cId="3362905413" sldId="308"/>
        </pc:sldMkLst>
      </pc:sldChg>
      <pc:sldChg chg="modNotes">
        <pc:chgData name="Gabriele Zanoletti" userId="fc6666fa-3441-4ddc-a8b9-f69fbbdf5644" providerId="ADAL" clId="{CBDFB5E6-1FA1-4DE7-A201-1F4BA4E764AC}" dt="2024-01-26T08:53:43.167" v="47" actId="368"/>
        <pc:sldMkLst>
          <pc:docMk/>
          <pc:sldMk cId="3056404990" sldId="310"/>
        </pc:sldMkLst>
      </pc:sldChg>
      <pc:sldChg chg="modNotes">
        <pc:chgData name="Gabriele Zanoletti" userId="fc6666fa-3441-4ddc-a8b9-f69fbbdf5644" providerId="ADAL" clId="{CBDFB5E6-1FA1-4DE7-A201-1F4BA4E764AC}" dt="2024-01-26T08:53:43.254" v="63" actId="368"/>
        <pc:sldMkLst>
          <pc:docMk/>
          <pc:sldMk cId="2059814184" sldId="314"/>
        </pc:sldMkLst>
      </pc:sldChg>
      <pc:sldChg chg="modNotes">
        <pc:chgData name="Gabriele Zanoletti" userId="fc6666fa-3441-4ddc-a8b9-f69fbbdf5644" providerId="ADAL" clId="{CBDFB5E6-1FA1-4DE7-A201-1F4BA4E764AC}" dt="2024-01-26T08:53:43.263" v="65" actId="368"/>
        <pc:sldMkLst>
          <pc:docMk/>
          <pc:sldMk cId="3439177903" sldId="315"/>
        </pc:sldMkLst>
      </pc:sldChg>
      <pc:sldChg chg="modNotes">
        <pc:chgData name="Gabriele Zanoletti" userId="fc6666fa-3441-4ddc-a8b9-f69fbbdf5644" providerId="ADAL" clId="{CBDFB5E6-1FA1-4DE7-A201-1F4BA4E764AC}" dt="2024-01-26T08:53:43.282" v="69" actId="368"/>
        <pc:sldMkLst>
          <pc:docMk/>
          <pc:sldMk cId="2060001824" sldId="316"/>
        </pc:sldMkLst>
      </pc:sldChg>
      <pc:sldChg chg="modNotes">
        <pc:chgData name="Gabriele Zanoletti" userId="fc6666fa-3441-4ddc-a8b9-f69fbbdf5644" providerId="ADAL" clId="{CBDFB5E6-1FA1-4DE7-A201-1F4BA4E764AC}" dt="2024-01-26T08:53:43.272" v="67" actId="368"/>
        <pc:sldMkLst>
          <pc:docMk/>
          <pc:sldMk cId="4110969131" sldId="317"/>
        </pc:sldMkLst>
      </pc:sldChg>
      <pc:sldChg chg="modNotes">
        <pc:chgData name="Gabriele Zanoletti" userId="fc6666fa-3441-4ddc-a8b9-f69fbbdf5644" providerId="ADAL" clId="{CBDFB5E6-1FA1-4DE7-A201-1F4BA4E764AC}" dt="2024-01-26T08:53:43.290" v="71" actId="368"/>
        <pc:sldMkLst>
          <pc:docMk/>
          <pc:sldMk cId="2600840893" sldId="319"/>
        </pc:sldMkLst>
      </pc:sldChg>
      <pc:sldChg chg="modNotes">
        <pc:chgData name="Gabriele Zanoletti" userId="fc6666fa-3441-4ddc-a8b9-f69fbbdf5644" providerId="ADAL" clId="{CBDFB5E6-1FA1-4DE7-A201-1F4BA4E764AC}" dt="2024-01-26T08:53:43.300" v="73" actId="368"/>
        <pc:sldMkLst>
          <pc:docMk/>
          <pc:sldMk cId="2371849535" sldId="320"/>
        </pc:sldMkLst>
      </pc:sldChg>
      <pc:sldChg chg="modNotes">
        <pc:chgData name="Gabriele Zanoletti" userId="fc6666fa-3441-4ddc-a8b9-f69fbbdf5644" providerId="ADAL" clId="{CBDFB5E6-1FA1-4DE7-A201-1F4BA4E764AC}" dt="2024-01-26T08:53:43.036" v="19" actId="368"/>
        <pc:sldMkLst>
          <pc:docMk/>
          <pc:sldMk cId="902660526" sldId="322"/>
        </pc:sldMkLst>
      </pc:sldChg>
      <pc:sldChg chg="modNotes">
        <pc:chgData name="Gabriele Zanoletti" userId="fc6666fa-3441-4ddc-a8b9-f69fbbdf5644" providerId="ADAL" clId="{CBDFB5E6-1FA1-4DE7-A201-1F4BA4E764AC}" dt="2024-01-26T08:53:43.120" v="37" actId="368"/>
        <pc:sldMkLst>
          <pc:docMk/>
          <pc:sldMk cId="3702300545" sldId="323"/>
        </pc:sldMkLst>
      </pc:sldChg>
      <pc:sldChg chg="modNotes">
        <pc:chgData name="Gabriele Zanoletti" userId="fc6666fa-3441-4ddc-a8b9-f69fbbdf5644" providerId="ADAL" clId="{CBDFB5E6-1FA1-4DE7-A201-1F4BA4E764AC}" dt="2024-01-26T08:53:43.244" v="61" actId="368"/>
        <pc:sldMkLst>
          <pc:docMk/>
          <pc:sldMk cId="2885120835" sldId="324"/>
        </pc:sldMkLst>
      </pc:sldChg>
      <pc:sldChg chg="modNotes">
        <pc:chgData name="Gabriele Zanoletti" userId="fc6666fa-3441-4ddc-a8b9-f69fbbdf5644" providerId="ADAL" clId="{CBDFB5E6-1FA1-4DE7-A201-1F4BA4E764AC}" dt="2024-01-26T08:53:43.308" v="75" actId="368"/>
        <pc:sldMkLst>
          <pc:docMk/>
          <pc:sldMk cId="2835239964" sldId="325"/>
        </pc:sldMkLst>
      </pc:sldChg>
      <pc:sldChg chg="modNotes">
        <pc:chgData name="Gabriele Zanoletti" userId="fc6666fa-3441-4ddc-a8b9-f69fbbdf5644" providerId="ADAL" clId="{CBDFB5E6-1FA1-4DE7-A201-1F4BA4E764AC}" dt="2024-01-26T08:53:43.317" v="77" actId="368"/>
        <pc:sldMkLst>
          <pc:docMk/>
          <pc:sldMk cId="1343076952" sldId="326"/>
        </pc:sldMkLst>
      </pc:sldChg>
      <pc:sldChg chg="modNotes">
        <pc:chgData name="Gabriele Zanoletti" userId="fc6666fa-3441-4ddc-a8b9-f69fbbdf5644" providerId="ADAL" clId="{CBDFB5E6-1FA1-4DE7-A201-1F4BA4E764AC}" dt="2024-01-26T08:53:42.990" v="13" actId="368"/>
        <pc:sldMkLst>
          <pc:docMk/>
          <pc:sldMk cId="897985928" sldId="332"/>
        </pc:sldMkLst>
      </pc:sldChg>
      <pc:sldChg chg="modNotes">
        <pc:chgData name="Gabriele Zanoletti" userId="fc6666fa-3441-4ddc-a8b9-f69fbbdf5644" providerId="ADAL" clId="{CBDFB5E6-1FA1-4DE7-A201-1F4BA4E764AC}" dt="2024-01-26T08:53:43.045" v="21" actId="368"/>
        <pc:sldMkLst>
          <pc:docMk/>
          <pc:sldMk cId="1171648230" sldId="333"/>
        </pc:sldMkLst>
      </pc:sldChg>
      <pc:sldChg chg="modNotes">
        <pc:chgData name="Gabriele Zanoletti" userId="fc6666fa-3441-4ddc-a8b9-f69fbbdf5644" providerId="ADAL" clId="{CBDFB5E6-1FA1-4DE7-A201-1F4BA4E764AC}" dt="2024-01-26T08:53:43.326" v="79" actId="368"/>
        <pc:sldMkLst>
          <pc:docMk/>
          <pc:sldMk cId="1998290092" sldId="334"/>
        </pc:sldMkLst>
      </pc:sldChg>
      <pc:sldChg chg="modNotes">
        <pc:chgData name="Gabriele Zanoletti" userId="fc6666fa-3441-4ddc-a8b9-f69fbbdf5644" providerId="ADAL" clId="{CBDFB5E6-1FA1-4DE7-A201-1F4BA4E764AC}" dt="2024-01-26T08:53:43.150" v="43" actId="368"/>
        <pc:sldMkLst>
          <pc:docMk/>
          <pc:sldMk cId="2832553207" sldId="335"/>
        </pc:sldMkLst>
      </pc:sldChg>
      <pc:sldChg chg="modNotes">
        <pc:chgData name="Gabriele Zanoletti" userId="fc6666fa-3441-4ddc-a8b9-f69fbbdf5644" providerId="ADAL" clId="{CBDFB5E6-1FA1-4DE7-A201-1F4BA4E764AC}" dt="2024-01-26T08:53:43.177" v="49" actId="368"/>
        <pc:sldMkLst>
          <pc:docMk/>
          <pc:sldMk cId="349029065" sldId="336"/>
        </pc:sldMkLst>
      </pc:sldChg>
      <pc:sldChg chg="modNotes">
        <pc:chgData name="Gabriele Zanoletti" userId="fc6666fa-3441-4ddc-a8b9-f69fbbdf5644" providerId="ADAL" clId="{CBDFB5E6-1FA1-4DE7-A201-1F4BA4E764AC}" dt="2024-01-26T08:53:43.159" v="45" actId="368"/>
        <pc:sldMkLst>
          <pc:docMk/>
          <pc:sldMk cId="3040321551" sldId="337"/>
        </pc:sldMkLst>
      </pc:sldChg>
      <pc:sldChg chg="modNotes">
        <pc:chgData name="Gabriele Zanoletti" userId="fc6666fa-3441-4ddc-a8b9-f69fbbdf5644" providerId="ADAL" clId="{CBDFB5E6-1FA1-4DE7-A201-1F4BA4E764AC}" dt="2024-01-26T08:53:43.231" v="59" actId="368"/>
        <pc:sldMkLst>
          <pc:docMk/>
          <pc:sldMk cId="3682762768" sldId="338"/>
        </pc:sldMkLst>
      </pc:sldChg>
      <pc:sldChg chg="modNotes">
        <pc:chgData name="Gabriele Zanoletti" userId="fc6666fa-3441-4ddc-a8b9-f69fbbdf5644" providerId="ADAL" clId="{CBDFB5E6-1FA1-4DE7-A201-1F4BA4E764AC}" dt="2024-01-26T08:53:43.197" v="53" actId="368"/>
        <pc:sldMkLst>
          <pc:docMk/>
          <pc:sldMk cId="1233919258" sldId="340"/>
        </pc:sldMkLst>
      </pc:sldChg>
      <pc:sldChg chg="modNotes">
        <pc:chgData name="Gabriele Zanoletti" userId="fc6666fa-3441-4ddc-a8b9-f69fbbdf5644" providerId="ADAL" clId="{CBDFB5E6-1FA1-4DE7-A201-1F4BA4E764AC}" dt="2024-01-26T08:53:43.208" v="55" actId="368"/>
        <pc:sldMkLst>
          <pc:docMk/>
          <pc:sldMk cId="2889248117" sldId="341"/>
        </pc:sldMkLst>
      </pc:sldChg>
      <pc:sldChg chg="modNotes">
        <pc:chgData name="Gabriele Zanoletti" userId="fc6666fa-3441-4ddc-a8b9-f69fbbdf5644" providerId="ADAL" clId="{CBDFB5E6-1FA1-4DE7-A201-1F4BA4E764AC}" dt="2024-01-26T08:53:43.186" v="51" actId="368"/>
        <pc:sldMkLst>
          <pc:docMk/>
          <pc:sldMk cId="782384403" sldId="345"/>
        </pc:sldMkLst>
      </pc:sldChg>
      <pc:sldChg chg="modNotes">
        <pc:chgData name="Gabriele Zanoletti" userId="fc6666fa-3441-4ddc-a8b9-f69fbbdf5644" providerId="ADAL" clId="{CBDFB5E6-1FA1-4DE7-A201-1F4BA4E764AC}" dt="2024-01-26T08:53:43.054" v="23" actId="368"/>
        <pc:sldMkLst>
          <pc:docMk/>
          <pc:sldMk cId="977858740" sldId="346"/>
        </pc:sldMkLst>
      </pc:sldChg>
      <pc:sldChg chg="modNotes">
        <pc:chgData name="Gabriele Zanoletti" userId="fc6666fa-3441-4ddc-a8b9-f69fbbdf5644" providerId="ADAL" clId="{CBDFB5E6-1FA1-4DE7-A201-1F4BA4E764AC}" dt="2024-01-26T08:53:42.919" v="1" actId="368"/>
        <pc:sldMkLst>
          <pc:docMk/>
          <pc:sldMk cId="252918147" sldId="347"/>
        </pc:sldMkLst>
      </pc:sldChg>
      <pc:sldChg chg="modNotes">
        <pc:chgData name="Gabriele Zanoletti" userId="fc6666fa-3441-4ddc-a8b9-f69fbbdf5644" providerId="ADAL" clId="{CBDFB5E6-1FA1-4DE7-A201-1F4BA4E764AC}" dt="2024-01-26T08:53:43.216" v="57" actId="368"/>
        <pc:sldMkLst>
          <pc:docMk/>
          <pc:sldMk cId="3489691726" sldId="348"/>
        </pc:sldMkLst>
      </pc:sldChg>
    </pc:docChg>
  </pc:docChgLst>
  <pc:docChgLst>
    <pc:chgData name="Gabriele Be'" userId="S::10455288@polimi.it::7bf626d5-9dae-4fe7-9b21-8b110831bcf6" providerId="AD" clId="Web-{204C86BC-B0AA-4E0F-0F98-058FC30E4937}"/>
    <pc:docChg chg="modSld">
      <pc:chgData name="Gabriele Be'" userId="S::10455288@polimi.it::7bf626d5-9dae-4fe7-9b21-8b110831bcf6" providerId="AD" clId="Web-{204C86BC-B0AA-4E0F-0F98-058FC30E4937}" dt="2024-03-26T17:42:40.856" v="0"/>
      <pc:docMkLst>
        <pc:docMk/>
      </pc:docMkLst>
      <pc:sldChg chg="delSp">
        <pc:chgData name="Gabriele Be'" userId="S::10455288@polimi.it::7bf626d5-9dae-4fe7-9b21-8b110831bcf6" providerId="AD" clId="Web-{204C86BC-B0AA-4E0F-0F98-058FC30E4937}" dt="2024-03-26T17:42:40.856" v="0"/>
        <pc:sldMkLst>
          <pc:docMk/>
          <pc:sldMk cId="252918147" sldId="347"/>
        </pc:sldMkLst>
        <pc:spChg chg="del">
          <ac:chgData name="Gabriele Be'" userId="S::10455288@polimi.it::7bf626d5-9dae-4fe7-9b21-8b110831bcf6" providerId="AD" clId="Web-{204C86BC-B0AA-4E0F-0F98-058FC30E4937}" dt="2024-03-26T17:42:40.856" v="0"/>
          <ac:spMkLst>
            <pc:docMk/>
            <pc:sldMk cId="252918147" sldId="347"/>
            <ac:spMk id="6" creationId="{B603842A-1E04-C52E-1031-7D30535E2256}"/>
          </ac:spMkLst>
        </pc:spChg>
      </pc:sldChg>
    </pc:docChg>
  </pc:docChgLst>
  <pc:docChgLst>
    <pc:chgData name="Alessia Ceroni" userId="59238df8-040f-40e7-81e6-4838df61c6e5" providerId="ADAL" clId="{CC0633A6-D8FA-2343-AEB0-3F442ECCECB1}"/>
    <pc:docChg chg="undo redo custSel modSld">
      <pc:chgData name="Alessia Ceroni" userId="59238df8-040f-40e7-81e6-4838df61c6e5" providerId="ADAL" clId="{CC0633A6-D8FA-2343-AEB0-3F442ECCECB1}" dt="2024-10-17T12:58:39.196" v="24" actId="1076"/>
      <pc:docMkLst>
        <pc:docMk/>
      </pc:docMkLst>
      <pc:sldChg chg="addSp delSp modSp mod">
        <pc:chgData name="Alessia Ceroni" userId="59238df8-040f-40e7-81e6-4838df61c6e5" providerId="ADAL" clId="{CC0633A6-D8FA-2343-AEB0-3F442ECCECB1}" dt="2024-10-17T12:58:39.196" v="24" actId="1076"/>
        <pc:sldMkLst>
          <pc:docMk/>
          <pc:sldMk cId="2750387320" sldId="348"/>
        </pc:sldMkLst>
        <pc:spChg chg="add del mod">
          <ac:chgData name="Alessia Ceroni" userId="59238df8-040f-40e7-81e6-4838df61c6e5" providerId="ADAL" clId="{CC0633A6-D8FA-2343-AEB0-3F442ECCECB1}" dt="2024-10-17T12:56:11.692" v="15"/>
          <ac:spMkLst>
            <pc:docMk/>
            <pc:sldMk cId="2750387320" sldId="348"/>
            <ac:spMk id="2" creationId="{99B44097-C3E5-91E2-CCA1-DA1E07DC3D06}"/>
          </ac:spMkLst>
        </pc:spChg>
        <pc:spChg chg="del mod">
          <ac:chgData name="Alessia Ceroni" userId="59238df8-040f-40e7-81e6-4838df61c6e5" providerId="ADAL" clId="{CC0633A6-D8FA-2343-AEB0-3F442ECCECB1}" dt="2024-10-17T12:56:00.442" v="8" actId="478"/>
          <ac:spMkLst>
            <pc:docMk/>
            <pc:sldMk cId="2750387320" sldId="348"/>
            <ac:spMk id="3" creationId="{535B4869-A11A-6EBD-5587-4662C40C674D}"/>
          </ac:spMkLst>
        </pc:spChg>
        <pc:spChg chg="add del mod">
          <ac:chgData name="Alessia Ceroni" userId="59238df8-040f-40e7-81e6-4838df61c6e5" providerId="ADAL" clId="{CC0633A6-D8FA-2343-AEB0-3F442ECCECB1}" dt="2024-10-17T12:58:39.196" v="24" actId="1076"/>
          <ac:spMkLst>
            <pc:docMk/>
            <pc:sldMk cId="2750387320" sldId="348"/>
            <ac:spMk id="3" creationId="{F08127E2-11A3-6033-1925-C0879852E81E}"/>
          </ac:spMkLst>
        </pc:spChg>
        <pc:spChg chg="mod">
          <ac:chgData name="Alessia Ceroni" userId="59238df8-040f-40e7-81e6-4838df61c6e5" providerId="ADAL" clId="{CC0633A6-D8FA-2343-AEB0-3F442ECCECB1}" dt="2024-10-17T12:58:21.294" v="18" actId="20577"/>
          <ac:spMkLst>
            <pc:docMk/>
            <pc:sldMk cId="2750387320" sldId="348"/>
            <ac:spMk id="4" creationId="{5305BB04-765F-64F5-5C21-9E446AA76387}"/>
          </ac:spMkLst>
        </pc:spChg>
        <pc:picChg chg="add mod">
          <ac:chgData name="Alessia Ceroni" userId="59238df8-040f-40e7-81e6-4838df61c6e5" providerId="ADAL" clId="{CC0633A6-D8FA-2343-AEB0-3F442ECCECB1}" dt="2024-10-17T12:55:56.823" v="6"/>
          <ac:picMkLst>
            <pc:docMk/>
            <pc:sldMk cId="2750387320" sldId="348"/>
            <ac:picMk id="7" creationId="{BA13A2B0-70C9-F956-FC0E-B251C234C686}"/>
          </ac:picMkLst>
        </pc:picChg>
        <pc:picChg chg="add del mod">
          <ac:chgData name="Alessia Ceroni" userId="59238df8-040f-40e7-81e6-4838df61c6e5" providerId="ADAL" clId="{CC0633A6-D8FA-2343-AEB0-3F442ECCECB1}" dt="2024-10-17T12:58:24.821" v="20" actId="478"/>
          <ac:picMkLst>
            <pc:docMk/>
            <pc:sldMk cId="2750387320" sldId="348"/>
            <ac:picMk id="8" creationId="{4880D04D-C53C-DB7E-46A0-13FC0D21590C}"/>
          </ac:picMkLst>
        </pc:picChg>
      </pc:sldChg>
    </pc:docChg>
  </pc:docChgLst>
  <pc:docChgLst>
    <pc:chgData name="Alessia Ceroni" userId="59238df8-040f-40e7-81e6-4838df61c6e5" providerId="ADAL" clId="{920A2CF8-CBEA-4541-8085-AEE8B0022FA5}"/>
    <pc:docChg chg="undo custSel modSld">
      <pc:chgData name="Alessia Ceroni" userId="59238df8-040f-40e7-81e6-4838df61c6e5" providerId="ADAL" clId="{920A2CF8-CBEA-4541-8085-AEE8B0022FA5}" dt="2023-12-18T16:37:26.365" v="635" actId="20577"/>
      <pc:docMkLst>
        <pc:docMk/>
      </pc:docMkLst>
      <pc:sldChg chg="modSp mod">
        <pc:chgData name="Alessia Ceroni" userId="59238df8-040f-40e7-81e6-4838df61c6e5" providerId="ADAL" clId="{920A2CF8-CBEA-4541-8085-AEE8B0022FA5}" dt="2023-12-18T16:37:26.365" v="635" actId="20577"/>
        <pc:sldMkLst>
          <pc:docMk/>
          <pc:sldMk cId="2523226674" sldId="282"/>
        </pc:sldMkLst>
        <pc:spChg chg="mod">
          <ac:chgData name="Alessia Ceroni" userId="59238df8-040f-40e7-81e6-4838df61c6e5" providerId="ADAL" clId="{920A2CF8-CBEA-4541-8085-AEE8B0022FA5}" dt="2023-12-18T16:37:16.064" v="627" actId="255"/>
          <ac:spMkLst>
            <pc:docMk/>
            <pc:sldMk cId="2523226674" sldId="282"/>
            <ac:spMk id="2" creationId="{8386E694-5EF7-1618-ACF4-DC987BEF617D}"/>
          </ac:spMkLst>
        </pc:spChg>
        <pc:spChg chg="mod">
          <ac:chgData name="Alessia Ceroni" userId="59238df8-040f-40e7-81e6-4838df61c6e5" providerId="ADAL" clId="{920A2CF8-CBEA-4541-8085-AEE8B0022FA5}" dt="2023-12-18T16:37:26.365" v="635" actId="20577"/>
          <ac:spMkLst>
            <pc:docMk/>
            <pc:sldMk cId="2523226674" sldId="282"/>
            <ac:spMk id="3" creationId="{01D288B1-15CE-766C-62CA-8CB12FDF2102}"/>
          </ac:spMkLst>
        </pc:spChg>
      </pc:sldChg>
    </pc:docChg>
  </pc:docChgLst>
  <pc:docChgLst>
    <pc:chgData name="Luca Ricci" userId="S::10451631@polimi.it::ee5f09d5-0832-4e68-94c9-d8bfd2ad04f0" providerId="AD" clId="Web-{01963A96-2E06-E2CD-1350-082BA7D4CF1B}"/>
    <pc:docChg chg="modSld">
      <pc:chgData name="Luca Ricci" userId="S::10451631@polimi.it::ee5f09d5-0832-4e68-94c9-d8bfd2ad04f0" providerId="AD" clId="Web-{01963A96-2E06-E2CD-1350-082BA7D4CF1B}" dt="2024-01-24T10:24:38.882" v="320"/>
      <pc:docMkLst>
        <pc:docMk/>
      </pc:docMkLst>
      <pc:sldChg chg="addSp delSp modSp modNotes">
        <pc:chgData name="Luca Ricci" userId="S::10451631@polimi.it::ee5f09d5-0832-4e68-94c9-d8bfd2ad04f0" providerId="AD" clId="Web-{01963A96-2E06-E2CD-1350-082BA7D4CF1B}" dt="2024-01-24T10:24:38.882" v="320"/>
        <pc:sldMkLst>
          <pc:docMk/>
          <pc:sldMk cId="4109715435" sldId="313"/>
        </pc:sldMkLst>
        <pc:picChg chg="add del mod">
          <ac:chgData name="Luca Ricci" userId="S::10451631@polimi.it::ee5f09d5-0832-4e68-94c9-d8bfd2ad04f0" providerId="AD" clId="Web-{01963A96-2E06-E2CD-1350-082BA7D4CF1B}" dt="2024-01-24T10:24:38.882" v="320"/>
          <ac:picMkLst>
            <pc:docMk/>
            <pc:sldMk cId="4109715435" sldId="313"/>
            <ac:picMk id="5" creationId="{CA4B9B14-FA33-53DB-09E4-CEE578977A56}"/>
          </ac:picMkLst>
        </pc:picChg>
        <pc:picChg chg="del">
          <ac:chgData name="Luca Ricci" userId="S::10451631@polimi.it::ee5f09d5-0832-4e68-94c9-d8bfd2ad04f0" providerId="AD" clId="Web-{01963A96-2E06-E2CD-1350-082BA7D4CF1B}" dt="2024-01-24T10:21:46.517" v="318"/>
          <ac:picMkLst>
            <pc:docMk/>
            <pc:sldMk cId="4109715435" sldId="313"/>
            <ac:picMk id="6" creationId="{081E3E13-A1F1-4FF3-9F97-8D0431E79976}"/>
          </ac:picMkLst>
        </pc:picChg>
      </pc:sldChg>
    </pc:docChg>
  </pc:docChgLst>
  <pc:docChgLst>
    <pc:chgData name="Luca Ricci" userId="S::10451631@polimi.it::ee5f09d5-0832-4e68-94c9-d8bfd2ad04f0" providerId="AD" clId="Web-{B2D310EA-72CF-4690-94EE-78BFEA809EFD}"/>
    <pc:docChg chg="modSld">
      <pc:chgData name="Luca Ricci" userId="S::10451631@polimi.it::ee5f09d5-0832-4e68-94c9-d8bfd2ad04f0" providerId="AD" clId="Web-{B2D310EA-72CF-4690-94EE-78BFEA809EFD}" dt="2024-01-23T15:58:01.521" v="949" actId="20577"/>
      <pc:docMkLst>
        <pc:docMk/>
      </pc:docMkLst>
      <pc:sldChg chg="modSp">
        <pc:chgData name="Luca Ricci" userId="S::10451631@polimi.it::ee5f09d5-0832-4e68-94c9-d8bfd2ad04f0" providerId="AD" clId="Web-{B2D310EA-72CF-4690-94EE-78BFEA809EFD}" dt="2024-01-23T15:26:33.096" v="66" actId="20577"/>
        <pc:sldMkLst>
          <pc:docMk/>
          <pc:sldMk cId="994454846" sldId="291"/>
        </pc:sldMkLst>
        <pc:spChg chg="mod">
          <ac:chgData name="Luca Ricci" userId="S::10451631@polimi.it::ee5f09d5-0832-4e68-94c9-d8bfd2ad04f0" providerId="AD" clId="Web-{B2D310EA-72CF-4690-94EE-78BFEA809EFD}" dt="2024-01-23T15:26:33.096" v="66" actId="20577"/>
          <ac:spMkLst>
            <pc:docMk/>
            <pc:sldMk cId="994454846" sldId="291"/>
            <ac:spMk id="9" creationId="{384C8E91-B72A-D715-878D-3115E7D21AE9}"/>
          </ac:spMkLst>
        </pc:spChg>
      </pc:sldChg>
      <pc:sldChg chg="addSp delSp modSp mod modClrScheme chgLayout">
        <pc:chgData name="Luca Ricci" userId="S::10451631@polimi.it::ee5f09d5-0832-4e68-94c9-d8bfd2ad04f0" providerId="AD" clId="Web-{B2D310EA-72CF-4690-94EE-78BFEA809EFD}" dt="2024-01-23T15:58:01.521" v="949" actId="20577"/>
        <pc:sldMkLst>
          <pc:docMk/>
          <pc:sldMk cId="4109715435" sldId="313"/>
        </pc:sldMkLst>
        <pc:spChg chg="mod ord">
          <ac:chgData name="Luca Ricci" userId="S::10451631@polimi.it::ee5f09d5-0832-4e68-94c9-d8bfd2ad04f0" providerId="AD" clId="Web-{B2D310EA-72CF-4690-94EE-78BFEA809EFD}" dt="2024-01-23T15:41:51.589" v="722" actId="20577"/>
          <ac:spMkLst>
            <pc:docMk/>
            <pc:sldMk cId="4109715435" sldId="313"/>
            <ac:spMk id="2" creationId="{2764E89C-42F0-7F7D-800A-DA392F66BC91}"/>
          </ac:spMkLst>
        </pc:spChg>
        <pc:spChg chg="mod ord">
          <ac:chgData name="Luca Ricci" userId="S::10451631@polimi.it::ee5f09d5-0832-4e68-94c9-d8bfd2ad04f0" providerId="AD" clId="Web-{B2D310EA-72CF-4690-94EE-78BFEA809EFD}" dt="2024-01-23T15:29:45.773" v="89"/>
          <ac:spMkLst>
            <pc:docMk/>
            <pc:sldMk cId="4109715435" sldId="313"/>
            <ac:spMk id="3" creationId="{937AAAB0-FB21-FB0E-A628-9C20C23B6347}"/>
          </ac:spMkLst>
        </pc:spChg>
        <pc:spChg chg="mod ord">
          <ac:chgData name="Luca Ricci" userId="S::10451631@polimi.it::ee5f09d5-0832-4e68-94c9-d8bfd2ad04f0" providerId="AD" clId="Web-{B2D310EA-72CF-4690-94EE-78BFEA809EFD}" dt="2024-01-23T15:29:45.773" v="89"/>
          <ac:spMkLst>
            <pc:docMk/>
            <pc:sldMk cId="4109715435" sldId="313"/>
            <ac:spMk id="4" creationId="{AAB1B8BC-4F92-6038-D555-1AD1EDEF431A}"/>
          </ac:spMkLst>
        </pc:spChg>
        <pc:spChg chg="add del mod ord">
          <ac:chgData name="Luca Ricci" userId="S::10451631@polimi.it::ee5f09d5-0832-4e68-94c9-d8bfd2ad04f0" providerId="AD" clId="Web-{B2D310EA-72CF-4690-94EE-78BFEA809EFD}" dt="2024-01-23T15:30:00.117" v="92"/>
          <ac:spMkLst>
            <pc:docMk/>
            <pc:sldMk cId="4109715435" sldId="313"/>
            <ac:spMk id="5" creationId="{42712514-1EB7-83FB-F854-2424E1C5F6FC}"/>
          </ac:spMkLst>
        </pc:spChg>
        <pc:spChg chg="add mod ord">
          <ac:chgData name="Luca Ricci" userId="S::10451631@polimi.it::ee5f09d5-0832-4e68-94c9-d8bfd2ad04f0" providerId="AD" clId="Web-{B2D310EA-72CF-4690-94EE-78BFEA809EFD}" dt="2024-01-23T15:58:01.521" v="949" actId="20577"/>
          <ac:spMkLst>
            <pc:docMk/>
            <pc:sldMk cId="4109715435" sldId="313"/>
            <ac:spMk id="7" creationId="{8ED043E4-ED32-1DA9-33FC-E4B34D009A79}"/>
          </ac:spMkLst>
        </pc:spChg>
        <pc:picChg chg="add del mod">
          <ac:chgData name="Luca Ricci" userId="S::10451631@polimi.it::ee5f09d5-0832-4e68-94c9-d8bfd2ad04f0" providerId="AD" clId="Web-{B2D310EA-72CF-4690-94EE-78BFEA809EFD}" dt="2024-01-23T15:50:29.821" v="912" actId="1076"/>
          <ac:picMkLst>
            <pc:docMk/>
            <pc:sldMk cId="4109715435" sldId="313"/>
            <ac:picMk id="6" creationId="{081E3E13-A1F1-4FF3-9F97-8D0431E79976}"/>
          </ac:picMkLst>
        </pc:picChg>
      </pc:sldChg>
    </pc:docChg>
  </pc:docChgLst>
  <pc:docChgLst>
    <pc:chgData name="Gabriele Zanoletti" userId="fc6666fa-3441-4ddc-a8b9-f69fbbdf5644" providerId="ADAL" clId="{FF896906-D997-4B2C-9772-B85E3A21DE27}"/>
    <pc:docChg chg="undo custSel delSld modSld sldOrd addSection modSection">
      <pc:chgData name="Gabriele Zanoletti" userId="fc6666fa-3441-4ddc-a8b9-f69fbbdf5644" providerId="ADAL" clId="{FF896906-D997-4B2C-9772-B85E3A21DE27}" dt="2024-01-25T12:01:57.728" v="4336" actId="47"/>
      <pc:docMkLst>
        <pc:docMk/>
      </pc:docMkLst>
      <pc:sldChg chg="modNotesTx">
        <pc:chgData name="Gabriele Zanoletti" userId="fc6666fa-3441-4ddc-a8b9-f69fbbdf5644" providerId="ADAL" clId="{FF896906-D997-4B2C-9772-B85E3A21DE27}" dt="2024-01-25T10:59:38.081" v="2267" actId="313"/>
        <pc:sldMkLst>
          <pc:docMk/>
          <pc:sldMk cId="3601296254" sldId="258"/>
        </pc:sldMkLst>
      </pc:sldChg>
      <pc:sldChg chg="modNotesTx">
        <pc:chgData name="Gabriele Zanoletti" userId="fc6666fa-3441-4ddc-a8b9-f69fbbdf5644" providerId="ADAL" clId="{FF896906-D997-4B2C-9772-B85E3A21DE27}" dt="2024-01-25T11:01:31.654" v="2285" actId="20577"/>
        <pc:sldMkLst>
          <pc:docMk/>
          <pc:sldMk cId="994454846" sldId="291"/>
        </pc:sldMkLst>
      </pc:sldChg>
      <pc:sldChg chg="modNotesTx">
        <pc:chgData name="Gabriele Zanoletti" userId="fc6666fa-3441-4ddc-a8b9-f69fbbdf5644" providerId="ADAL" clId="{FF896906-D997-4B2C-9772-B85E3A21DE27}" dt="2024-01-25T11:02:11.017" v="2321" actId="20577"/>
        <pc:sldMkLst>
          <pc:docMk/>
          <pc:sldMk cId="3241623441" sldId="292"/>
        </pc:sldMkLst>
      </pc:sldChg>
      <pc:sldChg chg="modNotesTx">
        <pc:chgData name="Gabriele Zanoletti" userId="fc6666fa-3441-4ddc-a8b9-f69fbbdf5644" providerId="ADAL" clId="{FF896906-D997-4B2C-9772-B85E3A21DE27}" dt="2024-01-25T11:05:01.062" v="2333" actId="20577"/>
        <pc:sldMkLst>
          <pc:docMk/>
          <pc:sldMk cId="692283471" sldId="293"/>
        </pc:sldMkLst>
      </pc:sldChg>
      <pc:sldChg chg="modNotesTx">
        <pc:chgData name="Gabriele Zanoletti" userId="fc6666fa-3441-4ddc-a8b9-f69fbbdf5644" providerId="ADAL" clId="{FF896906-D997-4B2C-9772-B85E3A21DE27}" dt="2024-01-25T11:07:37.562" v="2341" actId="20577"/>
        <pc:sldMkLst>
          <pc:docMk/>
          <pc:sldMk cId="2858633819" sldId="294"/>
        </pc:sldMkLst>
      </pc:sldChg>
      <pc:sldChg chg="modSp mod modNotesTx">
        <pc:chgData name="Gabriele Zanoletti" userId="fc6666fa-3441-4ddc-a8b9-f69fbbdf5644" providerId="ADAL" clId="{FF896906-D997-4B2C-9772-B85E3A21DE27}" dt="2024-01-25T11:13:08.246" v="2449" actId="20577"/>
        <pc:sldMkLst>
          <pc:docMk/>
          <pc:sldMk cId="1570471128" sldId="296"/>
        </pc:sldMkLst>
        <pc:spChg chg="mod">
          <ac:chgData name="Gabriele Zanoletti" userId="fc6666fa-3441-4ddc-a8b9-f69fbbdf5644" providerId="ADAL" clId="{FF896906-D997-4B2C-9772-B85E3A21DE27}" dt="2024-01-25T11:13:08.246" v="2449" actId="20577"/>
          <ac:spMkLst>
            <pc:docMk/>
            <pc:sldMk cId="1570471128" sldId="296"/>
            <ac:spMk id="2" creationId="{51BBF078-C8A6-B19B-5A86-1388E178168E}"/>
          </ac:spMkLst>
        </pc:spChg>
      </pc:sldChg>
      <pc:sldChg chg="modSp mod modNotesTx">
        <pc:chgData name="Gabriele Zanoletti" userId="fc6666fa-3441-4ddc-a8b9-f69fbbdf5644" providerId="ADAL" clId="{FF896906-D997-4B2C-9772-B85E3A21DE27}" dt="2024-01-25T11:13:11.865" v="2455" actId="20577"/>
        <pc:sldMkLst>
          <pc:docMk/>
          <pc:sldMk cId="1604505303" sldId="297"/>
        </pc:sldMkLst>
        <pc:spChg chg="mod">
          <ac:chgData name="Gabriele Zanoletti" userId="fc6666fa-3441-4ddc-a8b9-f69fbbdf5644" providerId="ADAL" clId="{FF896906-D997-4B2C-9772-B85E3A21DE27}" dt="2024-01-25T11:13:11.865" v="2455" actId="20577"/>
          <ac:spMkLst>
            <pc:docMk/>
            <pc:sldMk cId="1604505303" sldId="297"/>
            <ac:spMk id="2" creationId="{51BBF078-C8A6-B19B-5A86-1388E178168E}"/>
          </ac:spMkLst>
        </pc:spChg>
      </pc:sldChg>
      <pc:sldChg chg="modNotesTx">
        <pc:chgData name="Gabriele Zanoletti" userId="fc6666fa-3441-4ddc-a8b9-f69fbbdf5644" providerId="ADAL" clId="{FF896906-D997-4B2C-9772-B85E3A21DE27}" dt="2024-01-25T11:21:43.063" v="2623" actId="20577"/>
        <pc:sldMkLst>
          <pc:docMk/>
          <pc:sldMk cId="1968516981" sldId="301"/>
        </pc:sldMkLst>
      </pc:sldChg>
      <pc:sldChg chg="modSp">
        <pc:chgData name="Gabriele Zanoletti" userId="fc6666fa-3441-4ddc-a8b9-f69fbbdf5644" providerId="ADAL" clId="{FF896906-D997-4B2C-9772-B85E3A21DE27}" dt="2024-01-25T11:23:48.317" v="2624" actId="14826"/>
        <pc:sldMkLst>
          <pc:docMk/>
          <pc:sldMk cId="3837282433" sldId="302"/>
        </pc:sldMkLst>
        <pc:picChg chg="mod">
          <ac:chgData name="Gabriele Zanoletti" userId="fc6666fa-3441-4ddc-a8b9-f69fbbdf5644" providerId="ADAL" clId="{FF896906-D997-4B2C-9772-B85E3A21DE27}" dt="2024-01-25T11:23:48.317" v="2624" actId="14826"/>
          <ac:picMkLst>
            <pc:docMk/>
            <pc:sldMk cId="3837282433" sldId="302"/>
            <ac:picMk id="8" creationId="{0275A399-5A21-F73B-9407-2CA0146F7624}"/>
          </ac:picMkLst>
        </pc:picChg>
      </pc:sldChg>
      <pc:sldChg chg="modSp mod modNotesTx">
        <pc:chgData name="Gabriele Zanoletti" userId="fc6666fa-3441-4ddc-a8b9-f69fbbdf5644" providerId="ADAL" clId="{FF896906-D997-4B2C-9772-B85E3A21DE27}" dt="2024-01-25T11:26:00.998" v="2761" actId="20577"/>
        <pc:sldMkLst>
          <pc:docMk/>
          <pc:sldMk cId="4147670638" sldId="304"/>
        </pc:sldMkLst>
        <pc:spChg chg="mod">
          <ac:chgData name="Gabriele Zanoletti" userId="fc6666fa-3441-4ddc-a8b9-f69fbbdf5644" providerId="ADAL" clId="{FF896906-D997-4B2C-9772-B85E3A21DE27}" dt="2024-01-25T11:25:26.698" v="2651" actId="20577"/>
          <ac:spMkLst>
            <pc:docMk/>
            <pc:sldMk cId="4147670638" sldId="304"/>
            <ac:spMk id="6" creationId="{8CC18997-6459-6455-C20C-C4A81EB8C7CF}"/>
          </ac:spMkLst>
        </pc:spChg>
      </pc:sldChg>
      <pc:sldChg chg="modNotesTx">
        <pc:chgData name="Gabriele Zanoletti" userId="fc6666fa-3441-4ddc-a8b9-f69fbbdf5644" providerId="ADAL" clId="{FF896906-D997-4B2C-9772-B85E3A21DE27}" dt="2024-01-25T11:27:30.966" v="2812" actId="20577"/>
        <pc:sldMkLst>
          <pc:docMk/>
          <pc:sldMk cId="4004401706" sldId="306"/>
        </pc:sldMkLst>
      </pc:sldChg>
      <pc:sldChg chg="modSp modNotesTx">
        <pc:chgData name="Gabriele Zanoletti" userId="fc6666fa-3441-4ddc-a8b9-f69fbbdf5644" providerId="ADAL" clId="{FF896906-D997-4B2C-9772-B85E3A21DE27}" dt="2024-01-25T11:29:43.790" v="2875" actId="20577"/>
        <pc:sldMkLst>
          <pc:docMk/>
          <pc:sldMk cId="3230328343" sldId="307"/>
        </pc:sldMkLst>
        <pc:picChg chg="mod">
          <ac:chgData name="Gabriele Zanoletti" userId="fc6666fa-3441-4ddc-a8b9-f69fbbdf5644" providerId="ADAL" clId="{FF896906-D997-4B2C-9772-B85E3A21DE27}" dt="2024-01-25T09:37:28.161" v="0" actId="14826"/>
          <ac:picMkLst>
            <pc:docMk/>
            <pc:sldMk cId="3230328343" sldId="307"/>
            <ac:picMk id="6" creationId="{9F48A76D-807C-C4A1-0F15-F6A6A11713ED}"/>
          </ac:picMkLst>
        </pc:picChg>
      </pc:sldChg>
      <pc:sldChg chg="modNotesTx">
        <pc:chgData name="Gabriele Zanoletti" userId="fc6666fa-3441-4ddc-a8b9-f69fbbdf5644" providerId="ADAL" clId="{FF896906-D997-4B2C-9772-B85E3A21DE27}" dt="2024-01-25T11:30:10.906" v="2897" actId="20577"/>
        <pc:sldMkLst>
          <pc:docMk/>
          <pc:sldMk cId="3362905413" sldId="308"/>
        </pc:sldMkLst>
      </pc:sldChg>
      <pc:sldChg chg="modNotesTx">
        <pc:chgData name="Gabriele Zanoletti" userId="fc6666fa-3441-4ddc-a8b9-f69fbbdf5644" providerId="ADAL" clId="{FF896906-D997-4B2C-9772-B85E3A21DE27}" dt="2024-01-25T11:34:51.199" v="3073" actId="20577"/>
        <pc:sldMkLst>
          <pc:docMk/>
          <pc:sldMk cId="3056404990" sldId="310"/>
        </pc:sldMkLst>
      </pc:sldChg>
      <pc:sldChg chg="modSp mod modNotesTx">
        <pc:chgData name="Gabriele Zanoletti" userId="fc6666fa-3441-4ddc-a8b9-f69fbbdf5644" providerId="ADAL" clId="{FF896906-D997-4B2C-9772-B85E3A21DE27}" dt="2024-01-25T11:49:25.149" v="3894" actId="20577"/>
        <pc:sldMkLst>
          <pc:docMk/>
          <pc:sldMk cId="2059814184" sldId="314"/>
        </pc:sldMkLst>
        <pc:spChg chg="mod">
          <ac:chgData name="Gabriele Zanoletti" userId="fc6666fa-3441-4ddc-a8b9-f69fbbdf5644" providerId="ADAL" clId="{FF896906-D997-4B2C-9772-B85E3A21DE27}" dt="2024-01-25T11:46:22.897" v="3644" actId="113"/>
          <ac:spMkLst>
            <pc:docMk/>
            <pc:sldMk cId="2059814184" sldId="314"/>
            <ac:spMk id="8" creationId="{84C0628F-958C-CDC1-DBF7-C63F98DAF699}"/>
          </ac:spMkLst>
        </pc:spChg>
      </pc:sldChg>
      <pc:sldChg chg="modNotesTx">
        <pc:chgData name="Gabriele Zanoletti" userId="fc6666fa-3441-4ddc-a8b9-f69fbbdf5644" providerId="ADAL" clId="{FF896906-D997-4B2C-9772-B85E3A21DE27}" dt="2024-01-25T11:55:20.280" v="4250" actId="20577"/>
        <pc:sldMkLst>
          <pc:docMk/>
          <pc:sldMk cId="2060001824" sldId="316"/>
        </pc:sldMkLst>
      </pc:sldChg>
      <pc:sldChg chg="modNotesTx">
        <pc:chgData name="Gabriele Zanoletti" userId="fc6666fa-3441-4ddc-a8b9-f69fbbdf5644" providerId="ADAL" clId="{FF896906-D997-4B2C-9772-B85E3A21DE27}" dt="2024-01-25T11:54:18.193" v="4174" actId="20577"/>
        <pc:sldMkLst>
          <pc:docMk/>
          <pc:sldMk cId="4110969131" sldId="317"/>
        </pc:sldMkLst>
      </pc:sldChg>
      <pc:sldChg chg="modNotesTx">
        <pc:chgData name="Gabriele Zanoletti" userId="fc6666fa-3441-4ddc-a8b9-f69fbbdf5644" providerId="ADAL" clId="{FF896906-D997-4B2C-9772-B85E3A21DE27}" dt="2024-01-25T11:55:48.282" v="4255" actId="20577"/>
        <pc:sldMkLst>
          <pc:docMk/>
          <pc:sldMk cId="2600840893" sldId="319"/>
        </pc:sldMkLst>
      </pc:sldChg>
      <pc:sldChg chg="modNotesTx">
        <pc:chgData name="Gabriele Zanoletti" userId="fc6666fa-3441-4ddc-a8b9-f69fbbdf5644" providerId="ADAL" clId="{FF896906-D997-4B2C-9772-B85E3A21DE27}" dt="2024-01-25T12:00:35.540" v="4331" actId="20577"/>
        <pc:sldMkLst>
          <pc:docMk/>
          <pc:sldMk cId="2371849535" sldId="320"/>
        </pc:sldMkLst>
      </pc:sldChg>
      <pc:sldChg chg="modNotesTx">
        <pc:chgData name="Gabriele Zanoletti" userId="fc6666fa-3441-4ddc-a8b9-f69fbbdf5644" providerId="ADAL" clId="{FF896906-D997-4B2C-9772-B85E3A21DE27}" dt="2024-01-25T11:21:10.080" v="2604" actId="20577"/>
        <pc:sldMkLst>
          <pc:docMk/>
          <pc:sldMk cId="3702300545" sldId="323"/>
        </pc:sldMkLst>
      </pc:sldChg>
      <pc:sldChg chg="modNotesTx">
        <pc:chgData name="Gabriele Zanoletti" userId="fc6666fa-3441-4ddc-a8b9-f69fbbdf5644" providerId="ADAL" clId="{FF896906-D997-4B2C-9772-B85E3A21DE27}" dt="2024-01-25T12:01:46.162" v="4334" actId="20577"/>
        <pc:sldMkLst>
          <pc:docMk/>
          <pc:sldMk cId="1343076952" sldId="326"/>
        </pc:sldMkLst>
      </pc:sldChg>
      <pc:sldChg chg="modSp mod modNotesTx">
        <pc:chgData name="Gabriele Zanoletti" userId="fc6666fa-3441-4ddc-a8b9-f69fbbdf5644" providerId="ADAL" clId="{FF896906-D997-4B2C-9772-B85E3A21DE27}" dt="2024-01-25T11:10:19.081" v="2370" actId="20577"/>
        <pc:sldMkLst>
          <pc:docMk/>
          <pc:sldMk cId="897985928" sldId="332"/>
        </pc:sldMkLst>
        <pc:spChg chg="mod">
          <ac:chgData name="Gabriele Zanoletti" userId="fc6666fa-3441-4ddc-a8b9-f69fbbdf5644" providerId="ADAL" clId="{FF896906-D997-4B2C-9772-B85E3A21DE27}" dt="2024-01-25T11:09:21.271" v="2350" actId="20577"/>
          <ac:spMkLst>
            <pc:docMk/>
            <pc:sldMk cId="897985928" sldId="332"/>
            <ac:spMk id="3" creationId="{ECF25438-A5BE-19F8-650F-EE51DE5BF1C6}"/>
          </ac:spMkLst>
        </pc:spChg>
      </pc:sldChg>
      <pc:sldChg chg="modNotesTx">
        <pc:chgData name="Gabriele Zanoletti" userId="fc6666fa-3441-4ddc-a8b9-f69fbbdf5644" providerId="ADAL" clId="{FF896906-D997-4B2C-9772-B85E3A21DE27}" dt="2024-01-25T11:18:32.671" v="2524" actId="20577"/>
        <pc:sldMkLst>
          <pc:docMk/>
          <pc:sldMk cId="1171648230" sldId="333"/>
        </pc:sldMkLst>
      </pc:sldChg>
      <pc:sldChg chg="modNotesTx">
        <pc:chgData name="Gabriele Zanoletti" userId="fc6666fa-3441-4ddc-a8b9-f69fbbdf5644" providerId="ADAL" clId="{FF896906-D997-4B2C-9772-B85E3A21DE27}" dt="2024-01-25T11:31:46.487" v="2943" actId="20577"/>
        <pc:sldMkLst>
          <pc:docMk/>
          <pc:sldMk cId="2832553207" sldId="335"/>
        </pc:sldMkLst>
      </pc:sldChg>
      <pc:sldChg chg="modNotesTx">
        <pc:chgData name="Gabriele Zanoletti" userId="fc6666fa-3441-4ddc-a8b9-f69fbbdf5644" providerId="ADAL" clId="{FF896906-D997-4B2C-9772-B85E3A21DE27}" dt="2024-01-25T11:37:18.404" v="3178" actId="20577"/>
        <pc:sldMkLst>
          <pc:docMk/>
          <pc:sldMk cId="349029065" sldId="336"/>
        </pc:sldMkLst>
      </pc:sldChg>
      <pc:sldChg chg="modSp mod modNotesTx">
        <pc:chgData name="Gabriele Zanoletti" userId="fc6666fa-3441-4ddc-a8b9-f69fbbdf5644" providerId="ADAL" clId="{FF896906-D997-4B2C-9772-B85E3A21DE27}" dt="2024-01-25T11:34:36.035" v="3068" actId="20577"/>
        <pc:sldMkLst>
          <pc:docMk/>
          <pc:sldMk cId="3040321551" sldId="337"/>
        </pc:sldMkLst>
        <pc:spChg chg="mod">
          <ac:chgData name="Gabriele Zanoletti" userId="fc6666fa-3441-4ddc-a8b9-f69fbbdf5644" providerId="ADAL" clId="{FF896906-D997-4B2C-9772-B85E3A21DE27}" dt="2024-01-25T11:34:36.035" v="3068" actId="20577"/>
          <ac:spMkLst>
            <pc:docMk/>
            <pc:sldMk cId="3040321551" sldId="337"/>
            <ac:spMk id="5" creationId="{E2FA6CCD-7EDD-B4B4-61D0-2CF69F2DC992}"/>
          </ac:spMkLst>
        </pc:spChg>
      </pc:sldChg>
      <pc:sldChg chg="modNotesTx">
        <pc:chgData name="Gabriele Zanoletti" userId="fc6666fa-3441-4ddc-a8b9-f69fbbdf5644" providerId="ADAL" clId="{FF896906-D997-4B2C-9772-B85E3A21DE27}" dt="2024-01-25T11:45:37.972" v="3614" actId="20577"/>
        <pc:sldMkLst>
          <pc:docMk/>
          <pc:sldMk cId="3682762768" sldId="338"/>
        </pc:sldMkLst>
      </pc:sldChg>
      <pc:sldChg chg="modNotesTx">
        <pc:chgData name="Gabriele Zanoletti" userId="fc6666fa-3441-4ddc-a8b9-f69fbbdf5644" providerId="ADAL" clId="{FF896906-D997-4B2C-9772-B85E3A21DE27}" dt="2024-01-25T11:39:56.296" v="3239" actId="20577"/>
        <pc:sldMkLst>
          <pc:docMk/>
          <pc:sldMk cId="1233919258" sldId="340"/>
        </pc:sldMkLst>
      </pc:sldChg>
      <pc:sldChg chg="modNotesTx">
        <pc:chgData name="Gabriele Zanoletti" userId="fc6666fa-3441-4ddc-a8b9-f69fbbdf5644" providerId="ADAL" clId="{FF896906-D997-4B2C-9772-B85E3A21DE27}" dt="2024-01-25T11:42:41.425" v="3453" actId="20577"/>
        <pc:sldMkLst>
          <pc:docMk/>
          <pc:sldMk cId="2889248117" sldId="341"/>
        </pc:sldMkLst>
      </pc:sldChg>
      <pc:sldChg chg="del ord">
        <pc:chgData name="Gabriele Zanoletti" userId="fc6666fa-3441-4ddc-a8b9-f69fbbdf5644" providerId="ADAL" clId="{FF896906-D997-4B2C-9772-B85E3A21DE27}" dt="2024-01-25T12:01:56.614" v="4335" actId="47"/>
        <pc:sldMkLst>
          <pc:docMk/>
          <pc:sldMk cId="3557329851" sldId="343"/>
        </pc:sldMkLst>
      </pc:sldChg>
      <pc:sldChg chg="del ord">
        <pc:chgData name="Gabriele Zanoletti" userId="fc6666fa-3441-4ddc-a8b9-f69fbbdf5644" providerId="ADAL" clId="{FF896906-D997-4B2C-9772-B85E3A21DE27}" dt="2024-01-25T12:01:57.728" v="4336" actId="47"/>
        <pc:sldMkLst>
          <pc:docMk/>
          <pc:sldMk cId="556406102" sldId="344"/>
        </pc:sldMkLst>
      </pc:sldChg>
      <pc:sldChg chg="modNotesTx">
        <pc:chgData name="Gabriele Zanoletti" userId="fc6666fa-3441-4ddc-a8b9-f69fbbdf5644" providerId="ADAL" clId="{FF896906-D997-4B2C-9772-B85E3A21DE27}" dt="2024-01-25T11:39:09.072" v="3190" actId="20577"/>
        <pc:sldMkLst>
          <pc:docMk/>
          <pc:sldMk cId="782384403" sldId="345"/>
        </pc:sldMkLst>
      </pc:sldChg>
      <pc:sldChg chg="modNotesTx">
        <pc:chgData name="Gabriele Zanoletti" userId="fc6666fa-3441-4ddc-a8b9-f69fbbdf5644" providerId="ADAL" clId="{FF896906-D997-4B2C-9772-B85E3A21DE27}" dt="2024-01-25T11:19:21.462" v="2531" actId="20577"/>
        <pc:sldMkLst>
          <pc:docMk/>
          <pc:sldMk cId="977858740" sldId="346"/>
        </pc:sldMkLst>
      </pc:sldChg>
      <pc:sldChg chg="modNotesTx">
        <pc:chgData name="Gabriele Zanoletti" userId="fc6666fa-3441-4ddc-a8b9-f69fbbdf5644" providerId="ADAL" clId="{FF896906-D997-4B2C-9772-B85E3A21DE27}" dt="2024-01-25T10:57:48.821" v="2244" actId="20577"/>
        <pc:sldMkLst>
          <pc:docMk/>
          <pc:sldMk cId="252918147" sldId="347"/>
        </pc:sldMkLst>
      </pc:sldChg>
      <pc:sldChg chg="modSp mod modNotesTx">
        <pc:chgData name="Gabriele Zanoletti" userId="fc6666fa-3441-4ddc-a8b9-f69fbbdf5644" providerId="ADAL" clId="{FF896906-D997-4B2C-9772-B85E3A21DE27}" dt="2024-01-25T09:51:00.578" v="1375" actId="20577"/>
        <pc:sldMkLst>
          <pc:docMk/>
          <pc:sldMk cId="3489691726" sldId="348"/>
        </pc:sldMkLst>
        <pc:spChg chg="mod">
          <ac:chgData name="Gabriele Zanoletti" userId="fc6666fa-3441-4ddc-a8b9-f69fbbdf5644" providerId="ADAL" clId="{FF896906-D997-4B2C-9772-B85E3A21DE27}" dt="2024-01-25T09:48:08.841" v="875" actId="14100"/>
          <ac:spMkLst>
            <pc:docMk/>
            <pc:sldMk cId="3489691726" sldId="348"/>
            <ac:spMk id="6" creationId="{91623543-6B41-2D96-D1AA-92E18BFE0BFF}"/>
          </ac:spMkLst>
        </pc:spChg>
        <pc:picChg chg="mod">
          <ac:chgData name="Gabriele Zanoletti" userId="fc6666fa-3441-4ddc-a8b9-f69fbbdf5644" providerId="ADAL" clId="{FF896906-D997-4B2C-9772-B85E3A21DE27}" dt="2024-01-25T09:48:27.387" v="902" actId="1037"/>
          <ac:picMkLst>
            <pc:docMk/>
            <pc:sldMk cId="3489691726" sldId="348"/>
            <ac:picMk id="7" creationId="{BF47B201-4C7A-808B-4502-11BCAE8039BE}"/>
          </ac:picMkLst>
        </pc:picChg>
      </pc:sldChg>
    </pc:docChg>
  </pc:docChgLst>
  <pc:docChgLst>
    <pc:chgData name="Michele Rocco" userId="b98ebe7a-7641-4b10-bb82-27245654a50a" providerId="ADAL" clId="{0D83CF57-C9B6-4044-A52F-C1CAB1FC6A96}"/>
    <pc:docChg chg="undo custSel addSld modSld">
      <pc:chgData name="Michele Rocco" userId="b98ebe7a-7641-4b10-bb82-27245654a50a" providerId="ADAL" clId="{0D83CF57-C9B6-4044-A52F-C1CAB1FC6A96}" dt="2023-12-18T17:35:05.639" v="287" actId="20577"/>
      <pc:docMkLst>
        <pc:docMk/>
      </pc:docMkLst>
      <pc:sldChg chg="modSp mod">
        <pc:chgData name="Michele Rocco" userId="b98ebe7a-7641-4b10-bb82-27245654a50a" providerId="ADAL" clId="{0D83CF57-C9B6-4044-A52F-C1CAB1FC6A96}" dt="2023-12-18T17:35:05.639" v="287" actId="20577"/>
        <pc:sldMkLst>
          <pc:docMk/>
          <pc:sldMk cId="3601296254" sldId="258"/>
        </pc:sldMkLst>
        <pc:spChg chg="mod">
          <ac:chgData name="Michele Rocco" userId="b98ebe7a-7641-4b10-bb82-27245654a50a" providerId="ADAL" clId="{0D83CF57-C9B6-4044-A52F-C1CAB1FC6A96}" dt="2023-12-18T17:35:05.639" v="287" actId="20577"/>
          <ac:spMkLst>
            <pc:docMk/>
            <pc:sldMk cId="3601296254" sldId="258"/>
            <ac:spMk id="4" creationId="{1AC29BDC-7CB8-266E-07CF-D9D5D9169AC3}"/>
          </ac:spMkLst>
        </pc:spChg>
      </pc:sldChg>
      <pc:sldChg chg="addSp delSp modSp mod">
        <pc:chgData name="Michele Rocco" userId="b98ebe7a-7641-4b10-bb82-27245654a50a" providerId="ADAL" clId="{0D83CF57-C9B6-4044-A52F-C1CAB1FC6A96}" dt="2023-12-18T17:27:53.621" v="233" actId="478"/>
        <pc:sldMkLst>
          <pc:docMk/>
          <pc:sldMk cId="2523226674" sldId="282"/>
        </pc:sldMkLst>
        <pc:graphicFrameChg chg="add del mod">
          <ac:chgData name="Michele Rocco" userId="b98ebe7a-7641-4b10-bb82-27245654a50a" providerId="ADAL" clId="{0D83CF57-C9B6-4044-A52F-C1CAB1FC6A96}" dt="2023-12-18T17:27:53.621" v="233" actId="478"/>
          <ac:graphicFrameMkLst>
            <pc:docMk/>
            <pc:sldMk cId="2523226674" sldId="282"/>
            <ac:graphicFrameMk id="6" creationId="{FC0D6606-7954-0FEB-72E6-2166F378BAA1}"/>
          </ac:graphicFrameMkLst>
        </pc:graphicFrameChg>
      </pc:sldChg>
      <pc:sldChg chg="addSp delSp modSp new mod modClrScheme chgLayout">
        <pc:chgData name="Michele Rocco" userId="b98ebe7a-7641-4b10-bb82-27245654a50a" providerId="ADAL" clId="{0D83CF57-C9B6-4044-A52F-C1CAB1FC6A96}" dt="2023-12-18T17:30:40.913" v="283" actId="20577"/>
        <pc:sldMkLst>
          <pc:docMk/>
          <pc:sldMk cId="4187071354" sldId="287"/>
        </pc:sldMkLst>
        <pc:spChg chg="del mod ord">
          <ac:chgData name="Michele Rocco" userId="b98ebe7a-7641-4b10-bb82-27245654a50a" providerId="ADAL" clId="{0D83CF57-C9B6-4044-A52F-C1CAB1FC6A96}" dt="2023-12-18T15:41:48.072" v="1" actId="700"/>
          <ac:spMkLst>
            <pc:docMk/>
            <pc:sldMk cId="4187071354" sldId="287"/>
            <ac:spMk id="2" creationId="{87FB6796-05B4-7052-F8B0-29BA2576858F}"/>
          </ac:spMkLst>
        </pc:spChg>
        <pc:spChg chg="del">
          <ac:chgData name="Michele Rocco" userId="b98ebe7a-7641-4b10-bb82-27245654a50a" providerId="ADAL" clId="{0D83CF57-C9B6-4044-A52F-C1CAB1FC6A96}" dt="2023-12-18T15:41:48.072" v="1" actId="700"/>
          <ac:spMkLst>
            <pc:docMk/>
            <pc:sldMk cId="4187071354" sldId="287"/>
            <ac:spMk id="3" creationId="{FB7DF140-14FD-F261-21B0-9DDD57A54BD9}"/>
          </ac:spMkLst>
        </pc:spChg>
        <pc:spChg chg="del mod ord">
          <ac:chgData name="Michele Rocco" userId="b98ebe7a-7641-4b10-bb82-27245654a50a" providerId="ADAL" clId="{0D83CF57-C9B6-4044-A52F-C1CAB1FC6A96}" dt="2023-12-18T15:41:48.072" v="1" actId="700"/>
          <ac:spMkLst>
            <pc:docMk/>
            <pc:sldMk cId="4187071354" sldId="287"/>
            <ac:spMk id="4" creationId="{42EADF34-C923-74F8-07D7-1B38227EE704}"/>
          </ac:spMkLst>
        </pc:spChg>
        <pc:spChg chg="mod ord">
          <ac:chgData name="Michele Rocco" userId="b98ebe7a-7641-4b10-bb82-27245654a50a" providerId="ADAL" clId="{0D83CF57-C9B6-4044-A52F-C1CAB1FC6A96}" dt="2023-12-18T15:41:48.072" v="1" actId="700"/>
          <ac:spMkLst>
            <pc:docMk/>
            <pc:sldMk cId="4187071354" sldId="287"/>
            <ac:spMk id="5" creationId="{85E8FC01-C88D-1C46-58C5-5698342860A0}"/>
          </ac:spMkLst>
        </pc:spChg>
        <pc:spChg chg="mod ord">
          <ac:chgData name="Michele Rocco" userId="b98ebe7a-7641-4b10-bb82-27245654a50a" providerId="ADAL" clId="{0D83CF57-C9B6-4044-A52F-C1CAB1FC6A96}" dt="2023-12-18T15:41:48.072" v="1" actId="700"/>
          <ac:spMkLst>
            <pc:docMk/>
            <pc:sldMk cId="4187071354" sldId="287"/>
            <ac:spMk id="6" creationId="{F740E32E-2968-89FA-D189-C114885040CF}"/>
          </ac:spMkLst>
        </pc:spChg>
        <pc:spChg chg="add mod ord">
          <ac:chgData name="Michele Rocco" userId="b98ebe7a-7641-4b10-bb82-27245654a50a" providerId="ADAL" clId="{0D83CF57-C9B6-4044-A52F-C1CAB1FC6A96}" dt="2023-12-18T15:45:53.834" v="208" actId="5793"/>
          <ac:spMkLst>
            <pc:docMk/>
            <pc:sldMk cId="4187071354" sldId="287"/>
            <ac:spMk id="7" creationId="{1831B4C8-BE7C-5A59-D3B4-3B0DC386F8C3}"/>
          </ac:spMkLst>
        </pc:spChg>
        <pc:spChg chg="add del mod ord">
          <ac:chgData name="Michele Rocco" userId="b98ebe7a-7641-4b10-bb82-27245654a50a" providerId="ADAL" clId="{0D83CF57-C9B6-4044-A52F-C1CAB1FC6A96}" dt="2023-12-18T15:42:09.266" v="21" actId="931"/>
          <ac:spMkLst>
            <pc:docMk/>
            <pc:sldMk cId="4187071354" sldId="287"/>
            <ac:spMk id="8" creationId="{EC8D793D-9799-0F4B-13FA-02EF60891B12}"/>
          </ac:spMkLst>
        </pc:spChg>
        <pc:spChg chg="add mod">
          <ac:chgData name="Michele Rocco" userId="b98ebe7a-7641-4b10-bb82-27245654a50a" providerId="ADAL" clId="{0D83CF57-C9B6-4044-A52F-C1CAB1FC6A96}" dt="2023-12-18T17:30:40.913" v="283" actId="20577"/>
          <ac:spMkLst>
            <pc:docMk/>
            <pc:sldMk cId="4187071354" sldId="287"/>
            <ac:spMk id="11" creationId="{6D47CCCD-B115-E6F3-B8DB-8F6A35E8F9BA}"/>
          </ac:spMkLst>
        </pc:spChg>
        <pc:picChg chg="add mod">
          <ac:chgData name="Michele Rocco" userId="b98ebe7a-7641-4b10-bb82-27245654a50a" providerId="ADAL" clId="{0D83CF57-C9B6-4044-A52F-C1CAB1FC6A96}" dt="2023-12-18T15:42:42.777" v="25" actId="1076"/>
          <ac:picMkLst>
            <pc:docMk/>
            <pc:sldMk cId="4187071354" sldId="287"/>
            <ac:picMk id="10" creationId="{C65F004F-8A14-B0D6-FE95-4E6939E0DA69}"/>
          </ac:picMkLst>
        </pc:picChg>
      </pc:sldChg>
    </pc:docChg>
  </pc:docChgLst>
  <pc:docChgLst>
    <pc:chgData name="Michele Rocco" userId="b98ebe7a-7641-4b10-bb82-27245654a50a" providerId="ADAL" clId="{05A8CA33-8AB0-4B87-A00A-3A9C909B6976}"/>
    <pc:docChg chg="undo redo custSel addSld modSld modMainMaster">
      <pc:chgData name="Michele Rocco" userId="b98ebe7a-7641-4b10-bb82-27245654a50a" providerId="ADAL" clId="{05A8CA33-8AB0-4B87-A00A-3A9C909B6976}" dt="2024-01-24T09:20:27.618" v="10653" actId="20577"/>
      <pc:docMkLst>
        <pc:docMk/>
      </pc:docMkLst>
      <pc:sldChg chg="modSp mod">
        <pc:chgData name="Michele Rocco" userId="b98ebe7a-7641-4b10-bb82-27245654a50a" providerId="ADAL" clId="{05A8CA33-8AB0-4B87-A00A-3A9C909B6976}" dt="2024-01-23T16:57:00.547" v="6" actId="790"/>
        <pc:sldMkLst>
          <pc:docMk/>
          <pc:sldMk cId="3601296254" sldId="258"/>
        </pc:sldMkLst>
        <pc:spChg chg="mod">
          <ac:chgData name="Michele Rocco" userId="b98ebe7a-7641-4b10-bb82-27245654a50a" providerId="ADAL" clId="{05A8CA33-8AB0-4B87-A00A-3A9C909B6976}" dt="2024-01-23T16:57:00.547" v="6" actId="790"/>
          <ac:spMkLst>
            <pc:docMk/>
            <pc:sldMk cId="3601296254" sldId="258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546" v="5" actId="790"/>
          <ac:spMkLst>
            <pc:docMk/>
            <pc:sldMk cId="3601296254" sldId="258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543" v="4" actId="790"/>
        <pc:sldMkLst>
          <pc:docMk/>
          <pc:sldMk cId="913701754" sldId="267"/>
        </pc:sldMkLst>
        <pc:spChg chg="mod">
          <ac:chgData name="Michele Rocco" userId="b98ebe7a-7641-4b10-bb82-27245654a50a" providerId="ADAL" clId="{05A8CA33-8AB0-4B87-A00A-3A9C909B6976}" dt="2024-01-23T16:57:00.541" v="3" actId="790"/>
          <ac:spMkLst>
            <pc:docMk/>
            <pc:sldMk cId="913701754" sldId="267"/>
            <ac:spMk id="2" creationId="{B40086CB-E149-4C33-F1BF-6132B0867F59}"/>
          </ac:spMkLst>
        </pc:spChg>
        <pc:spChg chg="mod">
          <ac:chgData name="Michele Rocco" userId="b98ebe7a-7641-4b10-bb82-27245654a50a" providerId="ADAL" clId="{05A8CA33-8AB0-4B87-A00A-3A9C909B6976}" dt="2024-01-23T16:57:00.540" v="2" actId="790"/>
          <ac:spMkLst>
            <pc:docMk/>
            <pc:sldMk cId="913701754" sldId="267"/>
            <ac:spMk id="3" creationId="{8D39D37D-9355-8216-502B-248CE6B8D7D6}"/>
          </ac:spMkLst>
        </pc:spChg>
        <pc:spChg chg="mod">
          <ac:chgData name="Michele Rocco" userId="b98ebe7a-7641-4b10-bb82-27245654a50a" providerId="ADAL" clId="{05A8CA33-8AB0-4B87-A00A-3A9C909B6976}" dt="2024-01-23T16:57:00.543" v="4" actId="790"/>
          <ac:spMkLst>
            <pc:docMk/>
            <pc:sldMk cId="913701754" sldId="267"/>
            <ac:spMk id="5" creationId="{E21AFF28-0883-405B-A8DD-D42393A233A2}"/>
          </ac:spMkLst>
        </pc:spChg>
      </pc:sldChg>
      <pc:sldChg chg="modSp mod">
        <pc:chgData name="Michele Rocco" userId="b98ebe7a-7641-4b10-bb82-27245654a50a" providerId="ADAL" clId="{05A8CA33-8AB0-4B87-A00A-3A9C909B6976}" dt="2024-01-23T16:57:00.555" v="12" actId="790"/>
        <pc:sldMkLst>
          <pc:docMk/>
          <pc:sldMk cId="994454846" sldId="291"/>
        </pc:sldMkLst>
        <pc:spChg chg="mod">
          <ac:chgData name="Michele Rocco" userId="b98ebe7a-7641-4b10-bb82-27245654a50a" providerId="ADAL" clId="{05A8CA33-8AB0-4B87-A00A-3A9C909B6976}" dt="2024-01-23T16:57:00.547" v="9" actId="790"/>
          <ac:spMkLst>
            <pc:docMk/>
            <pc:sldMk cId="994454846" sldId="291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47" v="10" actId="790"/>
          <ac:spMkLst>
            <pc:docMk/>
            <pc:sldMk cId="994454846" sldId="291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47" v="11" actId="790"/>
          <ac:spMkLst>
            <pc:docMk/>
            <pc:sldMk cId="994454846" sldId="291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55" v="12" actId="790"/>
          <ac:spMkLst>
            <pc:docMk/>
            <pc:sldMk cId="994454846" sldId="291"/>
            <ac:spMk id="9" creationId="{384C8E91-B72A-D715-878D-3115E7D21AE9}"/>
          </ac:spMkLst>
        </pc:spChg>
      </pc:sldChg>
      <pc:sldChg chg="modSp mod">
        <pc:chgData name="Michele Rocco" userId="b98ebe7a-7641-4b10-bb82-27245654a50a" providerId="ADAL" clId="{05A8CA33-8AB0-4B87-A00A-3A9C909B6976}" dt="2024-01-23T16:57:00.557" v="16" actId="790"/>
        <pc:sldMkLst>
          <pc:docMk/>
          <pc:sldMk cId="3241623441" sldId="292"/>
        </pc:sldMkLst>
        <pc:spChg chg="mod">
          <ac:chgData name="Michele Rocco" userId="b98ebe7a-7641-4b10-bb82-27245654a50a" providerId="ADAL" clId="{05A8CA33-8AB0-4B87-A00A-3A9C909B6976}" dt="2024-01-23T16:57:00.556" v="13" actId="790"/>
          <ac:spMkLst>
            <pc:docMk/>
            <pc:sldMk cId="3241623441" sldId="292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56" v="14" actId="790"/>
          <ac:spMkLst>
            <pc:docMk/>
            <pc:sldMk cId="3241623441" sldId="292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57" v="15" actId="790"/>
          <ac:spMkLst>
            <pc:docMk/>
            <pc:sldMk cId="3241623441" sldId="292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57" v="16" actId="790"/>
          <ac:spMkLst>
            <pc:docMk/>
            <pc:sldMk cId="3241623441" sldId="292"/>
            <ac:spMk id="9" creationId="{384C8E91-B72A-D715-878D-3115E7D21AE9}"/>
          </ac:spMkLst>
        </pc:spChg>
      </pc:sldChg>
      <pc:sldChg chg="modSp mod">
        <pc:chgData name="Michele Rocco" userId="b98ebe7a-7641-4b10-bb82-27245654a50a" providerId="ADAL" clId="{05A8CA33-8AB0-4B87-A00A-3A9C909B6976}" dt="2024-01-23T16:57:00.560" v="20" actId="790"/>
        <pc:sldMkLst>
          <pc:docMk/>
          <pc:sldMk cId="692283471" sldId="293"/>
        </pc:sldMkLst>
        <pc:spChg chg="mod">
          <ac:chgData name="Michele Rocco" userId="b98ebe7a-7641-4b10-bb82-27245654a50a" providerId="ADAL" clId="{05A8CA33-8AB0-4B87-A00A-3A9C909B6976}" dt="2024-01-23T16:57:00.557" v="17" actId="790"/>
          <ac:spMkLst>
            <pc:docMk/>
            <pc:sldMk cId="692283471" sldId="293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57" v="18" actId="790"/>
          <ac:spMkLst>
            <pc:docMk/>
            <pc:sldMk cId="692283471" sldId="293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57" v="19" actId="790"/>
          <ac:spMkLst>
            <pc:docMk/>
            <pc:sldMk cId="692283471" sldId="293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60" v="20" actId="790"/>
          <ac:spMkLst>
            <pc:docMk/>
            <pc:sldMk cId="692283471" sldId="293"/>
            <ac:spMk id="9" creationId="{384C8E91-B72A-D715-878D-3115E7D21AE9}"/>
          </ac:spMkLst>
        </pc:spChg>
      </pc:sldChg>
      <pc:sldChg chg="modSp mod">
        <pc:chgData name="Michele Rocco" userId="b98ebe7a-7641-4b10-bb82-27245654a50a" providerId="ADAL" clId="{05A8CA33-8AB0-4B87-A00A-3A9C909B6976}" dt="2024-01-23T16:57:00.587" v="25" actId="790"/>
        <pc:sldMkLst>
          <pc:docMk/>
          <pc:sldMk cId="2858633819" sldId="294"/>
        </pc:sldMkLst>
        <pc:spChg chg="mod">
          <ac:chgData name="Michele Rocco" userId="b98ebe7a-7641-4b10-bb82-27245654a50a" providerId="ADAL" clId="{05A8CA33-8AB0-4B87-A00A-3A9C909B6976}" dt="2024-01-23T16:57:00.586" v="23" actId="790"/>
          <ac:spMkLst>
            <pc:docMk/>
            <pc:sldMk cId="2858633819" sldId="294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87" v="24" actId="790"/>
          <ac:spMkLst>
            <pc:docMk/>
            <pc:sldMk cId="2858633819" sldId="294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87" v="25" actId="790"/>
          <ac:spMkLst>
            <pc:docMk/>
            <pc:sldMk cId="2858633819" sldId="294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74" v="21" actId="790"/>
          <ac:spMkLst>
            <pc:docMk/>
            <pc:sldMk cId="2858633819" sldId="294"/>
            <ac:spMk id="5" creationId="{07C10B25-52DB-6AE0-3DBC-9A996236C2B2}"/>
          </ac:spMkLst>
        </pc:spChg>
        <pc:spChg chg="mod">
          <ac:chgData name="Michele Rocco" userId="b98ebe7a-7641-4b10-bb82-27245654a50a" providerId="ADAL" clId="{05A8CA33-8AB0-4B87-A00A-3A9C909B6976}" dt="2024-01-23T16:57:00.586" v="22" actId="790"/>
          <ac:spMkLst>
            <pc:docMk/>
            <pc:sldMk cId="2858633819" sldId="294"/>
            <ac:spMk id="7" creationId="{4CD401C1-C9E4-A15B-4244-04B575C68909}"/>
          </ac:spMkLst>
        </pc:spChg>
      </pc:sldChg>
      <pc:sldChg chg="modSp mod">
        <pc:chgData name="Michele Rocco" userId="b98ebe7a-7641-4b10-bb82-27245654a50a" providerId="ADAL" clId="{05A8CA33-8AB0-4B87-A00A-3A9C909B6976}" dt="2024-01-23T16:57:00.590" v="29" actId="790"/>
        <pc:sldMkLst>
          <pc:docMk/>
          <pc:sldMk cId="3804523030" sldId="295"/>
        </pc:sldMkLst>
        <pc:spChg chg="mod">
          <ac:chgData name="Michele Rocco" userId="b98ebe7a-7641-4b10-bb82-27245654a50a" providerId="ADAL" clId="{05A8CA33-8AB0-4B87-A00A-3A9C909B6976}" dt="2024-01-23T16:57:00.588" v="26" actId="790"/>
          <ac:spMkLst>
            <pc:docMk/>
            <pc:sldMk cId="3804523030" sldId="295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88" v="27" actId="790"/>
          <ac:spMkLst>
            <pc:docMk/>
            <pc:sldMk cId="3804523030" sldId="295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89" v="28" actId="790"/>
          <ac:spMkLst>
            <pc:docMk/>
            <pc:sldMk cId="3804523030" sldId="295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90" v="29" actId="790"/>
          <ac:spMkLst>
            <pc:docMk/>
            <pc:sldMk cId="3804523030" sldId="295"/>
            <ac:spMk id="9" creationId="{384C8E91-B72A-D715-878D-3115E7D21AE9}"/>
          </ac:spMkLst>
        </pc:spChg>
      </pc:sldChg>
      <pc:sldChg chg="modSp mod">
        <pc:chgData name="Michele Rocco" userId="b98ebe7a-7641-4b10-bb82-27245654a50a" providerId="ADAL" clId="{05A8CA33-8AB0-4B87-A00A-3A9C909B6976}" dt="2024-01-23T16:57:00.590" v="34" actId="790"/>
        <pc:sldMkLst>
          <pc:docMk/>
          <pc:sldMk cId="1570471128" sldId="296"/>
        </pc:sldMkLst>
        <pc:spChg chg="mod">
          <ac:chgData name="Michele Rocco" userId="b98ebe7a-7641-4b10-bb82-27245654a50a" providerId="ADAL" clId="{05A8CA33-8AB0-4B87-A00A-3A9C909B6976}" dt="2024-01-23T16:57:00.590" v="30" actId="790"/>
          <ac:spMkLst>
            <pc:docMk/>
            <pc:sldMk cId="1570471128" sldId="296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90" v="31" actId="790"/>
          <ac:spMkLst>
            <pc:docMk/>
            <pc:sldMk cId="1570471128" sldId="296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90" v="32" actId="790"/>
          <ac:spMkLst>
            <pc:docMk/>
            <pc:sldMk cId="1570471128" sldId="296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90" v="33" actId="790"/>
          <ac:spMkLst>
            <pc:docMk/>
            <pc:sldMk cId="1570471128" sldId="296"/>
            <ac:spMk id="9" creationId="{384C8E91-B72A-D715-878D-3115E7D21AE9}"/>
          </ac:spMkLst>
        </pc:spChg>
        <pc:spChg chg="mod">
          <ac:chgData name="Michele Rocco" userId="b98ebe7a-7641-4b10-bb82-27245654a50a" providerId="ADAL" clId="{05A8CA33-8AB0-4B87-A00A-3A9C909B6976}" dt="2024-01-23T16:57:00.590" v="34" actId="790"/>
          <ac:spMkLst>
            <pc:docMk/>
            <pc:sldMk cId="1570471128" sldId="296"/>
            <ac:spMk id="12" creationId="{1790EBD9-6684-4CE0-92FE-08B9BBF9FF90}"/>
          </ac:spMkLst>
        </pc:spChg>
      </pc:sldChg>
      <pc:sldChg chg="modSp mod">
        <pc:chgData name="Michele Rocco" userId="b98ebe7a-7641-4b10-bb82-27245654a50a" providerId="ADAL" clId="{05A8CA33-8AB0-4B87-A00A-3A9C909B6976}" dt="2024-01-23T16:57:00.598" v="39" actId="790"/>
        <pc:sldMkLst>
          <pc:docMk/>
          <pc:sldMk cId="1604505303" sldId="297"/>
        </pc:sldMkLst>
        <pc:spChg chg="mod">
          <ac:chgData name="Michele Rocco" userId="b98ebe7a-7641-4b10-bb82-27245654a50a" providerId="ADAL" clId="{05A8CA33-8AB0-4B87-A00A-3A9C909B6976}" dt="2024-01-23T16:57:00.595" v="35" actId="790"/>
          <ac:spMkLst>
            <pc:docMk/>
            <pc:sldMk cId="1604505303" sldId="297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95" v="36" actId="790"/>
          <ac:spMkLst>
            <pc:docMk/>
            <pc:sldMk cId="1604505303" sldId="297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96" v="37" actId="790"/>
          <ac:spMkLst>
            <pc:docMk/>
            <pc:sldMk cId="1604505303" sldId="297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96" v="38" actId="790"/>
          <ac:spMkLst>
            <pc:docMk/>
            <pc:sldMk cId="1604505303" sldId="297"/>
            <ac:spMk id="9" creationId="{384C8E91-B72A-D715-878D-3115E7D21AE9}"/>
          </ac:spMkLst>
        </pc:spChg>
        <pc:spChg chg="mod">
          <ac:chgData name="Michele Rocco" userId="b98ebe7a-7641-4b10-bb82-27245654a50a" providerId="ADAL" clId="{05A8CA33-8AB0-4B87-A00A-3A9C909B6976}" dt="2024-01-23T16:57:00.598" v="39" actId="790"/>
          <ac:spMkLst>
            <pc:docMk/>
            <pc:sldMk cId="1604505303" sldId="297"/>
            <ac:spMk id="12" creationId="{1790EBD9-6684-4CE0-92FE-08B9BBF9FF90}"/>
          </ac:spMkLst>
        </pc:spChg>
      </pc:sldChg>
      <pc:sldChg chg="modSp mod">
        <pc:chgData name="Michele Rocco" userId="b98ebe7a-7641-4b10-bb82-27245654a50a" providerId="ADAL" clId="{05A8CA33-8AB0-4B87-A00A-3A9C909B6976}" dt="2024-01-23T16:57:00.599" v="42" actId="790"/>
        <pc:sldMkLst>
          <pc:docMk/>
          <pc:sldMk cId="3397797632" sldId="299"/>
        </pc:sldMkLst>
        <pc:spChg chg="mod">
          <ac:chgData name="Michele Rocco" userId="b98ebe7a-7641-4b10-bb82-27245654a50a" providerId="ADAL" clId="{05A8CA33-8AB0-4B87-A00A-3A9C909B6976}" dt="2024-01-23T16:57:00.599" v="40" actId="790"/>
          <ac:spMkLst>
            <pc:docMk/>
            <pc:sldMk cId="3397797632" sldId="299"/>
            <ac:spMk id="2" creationId="{A32276C4-73BB-0578-40AB-D7DE7AEE228F}"/>
          </ac:spMkLst>
        </pc:spChg>
        <pc:spChg chg="mod">
          <ac:chgData name="Michele Rocco" userId="b98ebe7a-7641-4b10-bb82-27245654a50a" providerId="ADAL" clId="{05A8CA33-8AB0-4B87-A00A-3A9C909B6976}" dt="2024-01-23T16:57:00.599" v="41" actId="790"/>
          <ac:spMkLst>
            <pc:docMk/>
            <pc:sldMk cId="3397797632" sldId="299"/>
            <ac:spMk id="3" creationId="{7C00DDAA-51A6-1AB4-6244-29186F2B3724}"/>
          </ac:spMkLst>
        </pc:spChg>
        <pc:spChg chg="mod">
          <ac:chgData name="Michele Rocco" userId="b98ebe7a-7641-4b10-bb82-27245654a50a" providerId="ADAL" clId="{05A8CA33-8AB0-4B87-A00A-3A9C909B6976}" dt="2024-01-23T16:57:00.599" v="42" actId="790"/>
          <ac:spMkLst>
            <pc:docMk/>
            <pc:sldMk cId="3397797632" sldId="299"/>
            <ac:spMk id="4" creationId="{65E8087E-1FF9-E2B3-88C0-31867B258FDE}"/>
          </ac:spMkLst>
        </pc:spChg>
      </pc:sldChg>
      <pc:sldChg chg="modSp mod">
        <pc:chgData name="Michele Rocco" userId="b98ebe7a-7641-4b10-bb82-27245654a50a" providerId="ADAL" clId="{05A8CA33-8AB0-4B87-A00A-3A9C909B6976}" dt="2024-01-23T16:57:00.603" v="47" actId="790"/>
        <pc:sldMkLst>
          <pc:docMk/>
          <pc:sldMk cId="1255775440" sldId="300"/>
        </pc:sldMkLst>
        <pc:spChg chg="mod">
          <ac:chgData name="Michele Rocco" userId="b98ebe7a-7641-4b10-bb82-27245654a50a" providerId="ADAL" clId="{05A8CA33-8AB0-4B87-A00A-3A9C909B6976}" dt="2024-01-23T16:57:00.603" v="45" actId="790"/>
          <ac:spMkLst>
            <pc:docMk/>
            <pc:sldMk cId="1255775440" sldId="300"/>
            <ac:spMk id="2" creationId="{0FED1ECC-B37A-AFAC-AAE5-7973C510847E}"/>
          </ac:spMkLst>
        </pc:spChg>
        <pc:spChg chg="mod">
          <ac:chgData name="Michele Rocco" userId="b98ebe7a-7641-4b10-bb82-27245654a50a" providerId="ADAL" clId="{05A8CA33-8AB0-4B87-A00A-3A9C909B6976}" dt="2024-01-23T16:57:00.603" v="46" actId="790"/>
          <ac:spMkLst>
            <pc:docMk/>
            <pc:sldMk cId="1255775440" sldId="300"/>
            <ac:spMk id="3" creationId="{59CD7390-6C7C-51DE-C14F-CB3D62B0949A}"/>
          </ac:spMkLst>
        </pc:spChg>
        <pc:spChg chg="mod">
          <ac:chgData name="Michele Rocco" userId="b98ebe7a-7641-4b10-bb82-27245654a50a" providerId="ADAL" clId="{05A8CA33-8AB0-4B87-A00A-3A9C909B6976}" dt="2024-01-23T16:57:00.603" v="47" actId="790"/>
          <ac:spMkLst>
            <pc:docMk/>
            <pc:sldMk cId="1255775440" sldId="300"/>
            <ac:spMk id="4" creationId="{95026A83-6ECD-373A-CA40-BB0B21504E70}"/>
          </ac:spMkLst>
        </pc:spChg>
      </pc:sldChg>
      <pc:sldChg chg="modSp mod">
        <pc:chgData name="Michele Rocco" userId="b98ebe7a-7641-4b10-bb82-27245654a50a" providerId="ADAL" clId="{05A8CA33-8AB0-4B87-A00A-3A9C909B6976}" dt="2024-01-23T16:57:00.603" v="50" actId="790"/>
        <pc:sldMkLst>
          <pc:docMk/>
          <pc:sldMk cId="1968516981" sldId="301"/>
        </pc:sldMkLst>
        <pc:spChg chg="mod">
          <ac:chgData name="Michele Rocco" userId="b98ebe7a-7641-4b10-bb82-27245654a50a" providerId="ADAL" clId="{05A8CA33-8AB0-4B87-A00A-3A9C909B6976}" dt="2024-01-23T16:57:00.603" v="48" actId="790"/>
          <ac:spMkLst>
            <pc:docMk/>
            <pc:sldMk cId="1968516981" sldId="301"/>
            <ac:spMk id="2" creationId="{E070C1E7-82FC-C308-48AA-BB576309C94E}"/>
          </ac:spMkLst>
        </pc:spChg>
        <pc:spChg chg="mod">
          <ac:chgData name="Michele Rocco" userId="b98ebe7a-7641-4b10-bb82-27245654a50a" providerId="ADAL" clId="{05A8CA33-8AB0-4B87-A00A-3A9C909B6976}" dt="2024-01-23T16:57:00.603" v="49" actId="790"/>
          <ac:spMkLst>
            <pc:docMk/>
            <pc:sldMk cId="1968516981" sldId="301"/>
            <ac:spMk id="3" creationId="{96F58EB3-146D-01AB-FF1C-F63564B5F8B6}"/>
          </ac:spMkLst>
        </pc:spChg>
        <pc:spChg chg="mod">
          <ac:chgData name="Michele Rocco" userId="b98ebe7a-7641-4b10-bb82-27245654a50a" providerId="ADAL" clId="{05A8CA33-8AB0-4B87-A00A-3A9C909B6976}" dt="2024-01-23T16:57:00.603" v="50" actId="790"/>
          <ac:spMkLst>
            <pc:docMk/>
            <pc:sldMk cId="1968516981" sldId="301"/>
            <ac:spMk id="4" creationId="{3BC48301-FCC8-1160-E86A-02C6E0DDC8CE}"/>
          </ac:spMkLst>
        </pc:spChg>
      </pc:sldChg>
      <pc:sldChg chg="modSp mod">
        <pc:chgData name="Michele Rocco" userId="b98ebe7a-7641-4b10-bb82-27245654a50a" providerId="ADAL" clId="{05A8CA33-8AB0-4B87-A00A-3A9C909B6976}" dt="2024-01-23T16:57:00.603" v="53" actId="790"/>
        <pc:sldMkLst>
          <pc:docMk/>
          <pc:sldMk cId="3837282433" sldId="302"/>
        </pc:sldMkLst>
        <pc:spChg chg="mod">
          <ac:chgData name="Michele Rocco" userId="b98ebe7a-7641-4b10-bb82-27245654a50a" providerId="ADAL" clId="{05A8CA33-8AB0-4B87-A00A-3A9C909B6976}" dt="2024-01-23T16:57:00.603" v="51" actId="790"/>
          <ac:spMkLst>
            <pc:docMk/>
            <pc:sldMk cId="3837282433" sldId="302"/>
            <ac:spMk id="2" creationId="{D7C9BEB4-AE92-C198-5C9B-5A770711D3C8}"/>
          </ac:spMkLst>
        </pc:spChg>
        <pc:spChg chg="mod">
          <ac:chgData name="Michele Rocco" userId="b98ebe7a-7641-4b10-bb82-27245654a50a" providerId="ADAL" clId="{05A8CA33-8AB0-4B87-A00A-3A9C909B6976}" dt="2024-01-23T16:57:00.603" v="52" actId="790"/>
          <ac:spMkLst>
            <pc:docMk/>
            <pc:sldMk cId="3837282433" sldId="302"/>
            <ac:spMk id="3" creationId="{E4BAF6DD-077F-1F17-AE2F-BC1ED46FE221}"/>
          </ac:spMkLst>
        </pc:spChg>
        <pc:spChg chg="mod">
          <ac:chgData name="Michele Rocco" userId="b98ebe7a-7641-4b10-bb82-27245654a50a" providerId="ADAL" clId="{05A8CA33-8AB0-4B87-A00A-3A9C909B6976}" dt="2024-01-23T16:57:00.603" v="53" actId="790"/>
          <ac:spMkLst>
            <pc:docMk/>
            <pc:sldMk cId="3837282433" sldId="302"/>
            <ac:spMk id="4" creationId="{A27AF004-9DDA-E731-1311-119056E32959}"/>
          </ac:spMkLst>
        </pc:spChg>
      </pc:sldChg>
      <pc:sldChg chg="modSp mod">
        <pc:chgData name="Michele Rocco" userId="b98ebe7a-7641-4b10-bb82-27245654a50a" providerId="ADAL" clId="{05A8CA33-8AB0-4B87-A00A-3A9C909B6976}" dt="2024-01-23T16:57:00.603" v="56" actId="790"/>
        <pc:sldMkLst>
          <pc:docMk/>
          <pc:sldMk cId="786950877" sldId="303"/>
        </pc:sldMkLst>
        <pc:spChg chg="mod">
          <ac:chgData name="Michele Rocco" userId="b98ebe7a-7641-4b10-bb82-27245654a50a" providerId="ADAL" clId="{05A8CA33-8AB0-4B87-A00A-3A9C909B6976}" dt="2024-01-23T16:57:00.603" v="54" actId="790"/>
          <ac:spMkLst>
            <pc:docMk/>
            <pc:sldMk cId="786950877" sldId="303"/>
            <ac:spMk id="2" creationId="{06675B17-37D5-6F32-A9A2-60EF4BB95C5E}"/>
          </ac:spMkLst>
        </pc:spChg>
        <pc:spChg chg="mod">
          <ac:chgData name="Michele Rocco" userId="b98ebe7a-7641-4b10-bb82-27245654a50a" providerId="ADAL" clId="{05A8CA33-8AB0-4B87-A00A-3A9C909B6976}" dt="2024-01-23T16:57:00.603" v="55" actId="790"/>
          <ac:spMkLst>
            <pc:docMk/>
            <pc:sldMk cId="786950877" sldId="303"/>
            <ac:spMk id="3" creationId="{6A2F1E92-CEE5-452B-8FEA-0E8D600FBAD2}"/>
          </ac:spMkLst>
        </pc:spChg>
        <pc:spChg chg="mod">
          <ac:chgData name="Michele Rocco" userId="b98ebe7a-7641-4b10-bb82-27245654a50a" providerId="ADAL" clId="{05A8CA33-8AB0-4B87-A00A-3A9C909B6976}" dt="2024-01-23T16:57:00.603" v="56" actId="790"/>
          <ac:spMkLst>
            <pc:docMk/>
            <pc:sldMk cId="786950877" sldId="303"/>
            <ac:spMk id="4" creationId="{36367C1D-8298-D320-195B-70872E12BB11}"/>
          </ac:spMkLst>
        </pc:spChg>
      </pc:sldChg>
      <pc:sldChg chg="modSp mod">
        <pc:chgData name="Michele Rocco" userId="b98ebe7a-7641-4b10-bb82-27245654a50a" providerId="ADAL" clId="{05A8CA33-8AB0-4B87-A00A-3A9C909B6976}" dt="2024-01-23T16:57:00.610" v="59" actId="790"/>
        <pc:sldMkLst>
          <pc:docMk/>
          <pc:sldMk cId="4147670638" sldId="304"/>
        </pc:sldMkLst>
        <pc:spChg chg="mod">
          <ac:chgData name="Michele Rocco" userId="b98ebe7a-7641-4b10-bb82-27245654a50a" providerId="ADAL" clId="{05A8CA33-8AB0-4B87-A00A-3A9C909B6976}" dt="2024-01-23T16:57:00.609" v="57" actId="790"/>
          <ac:spMkLst>
            <pc:docMk/>
            <pc:sldMk cId="4147670638" sldId="304"/>
            <ac:spMk id="2" creationId="{06675B17-37D5-6F32-A9A2-60EF4BB95C5E}"/>
          </ac:spMkLst>
        </pc:spChg>
        <pc:spChg chg="mod">
          <ac:chgData name="Michele Rocco" userId="b98ebe7a-7641-4b10-bb82-27245654a50a" providerId="ADAL" clId="{05A8CA33-8AB0-4B87-A00A-3A9C909B6976}" dt="2024-01-23T16:57:00.609" v="58" actId="790"/>
          <ac:spMkLst>
            <pc:docMk/>
            <pc:sldMk cId="4147670638" sldId="304"/>
            <ac:spMk id="3" creationId="{6A2F1E92-CEE5-452B-8FEA-0E8D600FBAD2}"/>
          </ac:spMkLst>
        </pc:spChg>
        <pc:spChg chg="mod">
          <ac:chgData name="Michele Rocco" userId="b98ebe7a-7641-4b10-bb82-27245654a50a" providerId="ADAL" clId="{05A8CA33-8AB0-4B87-A00A-3A9C909B6976}" dt="2024-01-23T16:57:00.610" v="59" actId="790"/>
          <ac:spMkLst>
            <pc:docMk/>
            <pc:sldMk cId="4147670638" sldId="304"/>
            <ac:spMk id="4" creationId="{36367C1D-8298-D320-195B-70872E12BB11}"/>
          </ac:spMkLst>
        </pc:spChg>
      </pc:sldChg>
      <pc:sldChg chg="modSp mod">
        <pc:chgData name="Michele Rocco" userId="b98ebe7a-7641-4b10-bb82-27245654a50a" providerId="ADAL" clId="{05A8CA33-8AB0-4B87-A00A-3A9C909B6976}" dt="2024-01-23T16:57:00.613" v="65" actId="790"/>
        <pc:sldMkLst>
          <pc:docMk/>
          <pc:sldMk cId="2129748764" sldId="305"/>
        </pc:sldMkLst>
        <pc:spChg chg="mod">
          <ac:chgData name="Michele Rocco" userId="b98ebe7a-7641-4b10-bb82-27245654a50a" providerId="ADAL" clId="{05A8CA33-8AB0-4B87-A00A-3A9C909B6976}" dt="2024-01-23T16:57:00.612" v="63" actId="790"/>
          <ac:spMkLst>
            <pc:docMk/>
            <pc:sldMk cId="2129748764" sldId="305"/>
            <ac:spMk id="2" creationId="{22E6288F-4C58-0357-7270-DAE1CDAF3F92}"/>
          </ac:spMkLst>
        </pc:spChg>
        <pc:spChg chg="mod">
          <ac:chgData name="Michele Rocco" userId="b98ebe7a-7641-4b10-bb82-27245654a50a" providerId="ADAL" clId="{05A8CA33-8AB0-4B87-A00A-3A9C909B6976}" dt="2024-01-23T16:57:00.612" v="64" actId="790"/>
          <ac:spMkLst>
            <pc:docMk/>
            <pc:sldMk cId="2129748764" sldId="305"/>
            <ac:spMk id="3" creationId="{C5638F8E-5ECF-9D3B-E0E5-480CC9BC06CA}"/>
          </ac:spMkLst>
        </pc:spChg>
        <pc:spChg chg="mod">
          <ac:chgData name="Michele Rocco" userId="b98ebe7a-7641-4b10-bb82-27245654a50a" providerId="ADAL" clId="{05A8CA33-8AB0-4B87-A00A-3A9C909B6976}" dt="2024-01-23T16:57:00.613" v="65" actId="790"/>
          <ac:spMkLst>
            <pc:docMk/>
            <pc:sldMk cId="2129748764" sldId="305"/>
            <ac:spMk id="4" creationId="{3FF314E5-6D0B-17D7-4CF5-70C0600F5221}"/>
          </ac:spMkLst>
        </pc:spChg>
      </pc:sldChg>
      <pc:sldChg chg="modSp mod addCm modCm">
        <pc:chgData name="Michele Rocco" userId="b98ebe7a-7641-4b10-bb82-27245654a50a" providerId="ADAL" clId="{05A8CA33-8AB0-4B87-A00A-3A9C909B6976}" dt="2024-01-24T08:29:55.727" v="6551"/>
        <pc:sldMkLst>
          <pc:docMk/>
          <pc:sldMk cId="4004401706" sldId="306"/>
        </pc:sldMkLst>
        <pc:spChg chg="mod">
          <ac:chgData name="Michele Rocco" userId="b98ebe7a-7641-4b10-bb82-27245654a50a" providerId="ADAL" clId="{05A8CA33-8AB0-4B87-A00A-3A9C909B6976}" dt="2024-01-23T16:57:00.610" v="60" actId="790"/>
          <ac:spMkLst>
            <pc:docMk/>
            <pc:sldMk cId="4004401706" sldId="306"/>
            <ac:spMk id="2" creationId="{8AECB9C5-20A5-EC47-5C23-A7A35D341FDE}"/>
          </ac:spMkLst>
        </pc:spChg>
        <pc:spChg chg="mod">
          <ac:chgData name="Michele Rocco" userId="b98ebe7a-7641-4b10-bb82-27245654a50a" providerId="ADAL" clId="{05A8CA33-8AB0-4B87-A00A-3A9C909B6976}" dt="2024-01-23T16:57:00.610" v="61" actId="790"/>
          <ac:spMkLst>
            <pc:docMk/>
            <pc:sldMk cId="4004401706" sldId="306"/>
            <ac:spMk id="3" creationId="{C73A0543-0387-1DBD-1B9D-DFA7997D5889}"/>
          </ac:spMkLst>
        </pc:spChg>
        <pc:spChg chg="mod">
          <ac:chgData name="Michele Rocco" userId="b98ebe7a-7641-4b10-bb82-27245654a50a" providerId="ADAL" clId="{05A8CA33-8AB0-4B87-A00A-3A9C909B6976}" dt="2024-01-23T16:57:00.610" v="62" actId="790"/>
          <ac:spMkLst>
            <pc:docMk/>
            <pc:sldMk cId="4004401706" sldId="306"/>
            <ac:spMk id="4" creationId="{8A573DBD-3E92-A1A0-924C-54729A3B660D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Michele Rocco" userId="b98ebe7a-7641-4b10-bb82-27245654a50a" providerId="ADAL" clId="{05A8CA33-8AB0-4B87-A00A-3A9C909B6976}" dt="2024-01-24T08:29:55.727" v="6551"/>
              <pc2:cmMkLst xmlns:pc2="http://schemas.microsoft.com/office/powerpoint/2019/9/main/command">
                <pc:docMk/>
                <pc:sldMk cId="4004401706" sldId="306"/>
                <pc2:cmMk id="{7EF4B918-92B8-4117-8635-D4BBFF2EC088}"/>
              </pc2:cmMkLst>
              <pc226:cmRplyChg chg="add">
                <pc226:chgData name="Michele Rocco" userId="b98ebe7a-7641-4b10-bb82-27245654a50a" providerId="ADAL" clId="{05A8CA33-8AB0-4B87-A00A-3A9C909B6976}" dt="2024-01-23T17:04:43.498" v="258"/>
                <pc2:cmRplyMkLst xmlns:pc2="http://schemas.microsoft.com/office/powerpoint/2019/9/main/command">
                  <pc:docMk/>
                  <pc:sldMk cId="4004401706" sldId="306"/>
                  <pc2:cmMk id="{7EF4B918-92B8-4117-8635-D4BBFF2EC088}"/>
                  <pc2:cmRplyMk id="{A7CA33C8-1948-40FA-BC09-AD1BBAAC6C0F}"/>
                </pc2:cmRplyMkLst>
              </pc226:cmRplyChg>
              <pc226:cmRplyChg chg="add">
                <pc226:chgData name="Michele Rocco" userId="b98ebe7a-7641-4b10-bb82-27245654a50a" providerId="ADAL" clId="{05A8CA33-8AB0-4B87-A00A-3A9C909B6976}" dt="2024-01-24T08:29:55.727" v="6551"/>
                <pc2:cmRplyMkLst xmlns:pc2="http://schemas.microsoft.com/office/powerpoint/2019/9/main/command">
                  <pc:docMk/>
                  <pc:sldMk cId="4004401706" sldId="306"/>
                  <pc2:cmMk id="{7EF4B918-92B8-4117-8635-D4BBFF2EC088}"/>
                  <pc2:cmRplyMk id="{B0347FCF-5FB8-4072-919F-E80E1E135219}"/>
                </pc2:cmRplyMkLst>
              </pc226:cmRplyChg>
            </pc226:cmChg>
          </p:ext>
        </pc:extLst>
      </pc:sldChg>
      <pc:sldChg chg="modSp mod">
        <pc:chgData name="Michele Rocco" userId="b98ebe7a-7641-4b10-bb82-27245654a50a" providerId="ADAL" clId="{05A8CA33-8AB0-4B87-A00A-3A9C909B6976}" dt="2024-01-23T16:57:00.617" v="70" actId="790"/>
        <pc:sldMkLst>
          <pc:docMk/>
          <pc:sldMk cId="3230328343" sldId="307"/>
        </pc:sldMkLst>
        <pc:spChg chg="mod">
          <ac:chgData name="Michele Rocco" userId="b98ebe7a-7641-4b10-bb82-27245654a50a" providerId="ADAL" clId="{05A8CA33-8AB0-4B87-A00A-3A9C909B6976}" dt="2024-01-23T16:57:00.616" v="68" actId="790"/>
          <ac:spMkLst>
            <pc:docMk/>
            <pc:sldMk cId="3230328343" sldId="307"/>
            <ac:spMk id="2" creationId="{05CF7369-2F65-253A-B1C2-BBEA8D8E5792}"/>
          </ac:spMkLst>
        </pc:spChg>
        <pc:spChg chg="mod">
          <ac:chgData name="Michele Rocco" userId="b98ebe7a-7641-4b10-bb82-27245654a50a" providerId="ADAL" clId="{05A8CA33-8AB0-4B87-A00A-3A9C909B6976}" dt="2024-01-23T16:57:00.617" v="69" actId="790"/>
          <ac:spMkLst>
            <pc:docMk/>
            <pc:sldMk cId="3230328343" sldId="307"/>
            <ac:spMk id="3" creationId="{62A678F7-2D06-8404-53AC-3B41A2B26D45}"/>
          </ac:spMkLst>
        </pc:spChg>
        <pc:spChg chg="mod">
          <ac:chgData name="Michele Rocco" userId="b98ebe7a-7641-4b10-bb82-27245654a50a" providerId="ADAL" clId="{05A8CA33-8AB0-4B87-A00A-3A9C909B6976}" dt="2024-01-23T16:57:00.617" v="70" actId="790"/>
          <ac:spMkLst>
            <pc:docMk/>
            <pc:sldMk cId="3230328343" sldId="307"/>
            <ac:spMk id="4" creationId="{91D9F759-CD61-E01A-B875-CBAD1A8ADAAD}"/>
          </ac:spMkLst>
        </pc:spChg>
      </pc:sldChg>
      <pc:sldChg chg="modSp mod addCm modCm">
        <pc:chgData name="Michele Rocco" userId="b98ebe7a-7641-4b10-bb82-27245654a50a" providerId="ADAL" clId="{05A8CA33-8AB0-4B87-A00A-3A9C909B6976}" dt="2024-01-24T07:18:58.105" v="1467"/>
        <pc:sldMkLst>
          <pc:docMk/>
          <pc:sldMk cId="3362905413" sldId="308"/>
        </pc:sldMkLst>
        <pc:spChg chg="mod">
          <ac:chgData name="Michele Rocco" userId="b98ebe7a-7641-4b10-bb82-27245654a50a" providerId="ADAL" clId="{05A8CA33-8AB0-4B87-A00A-3A9C909B6976}" dt="2024-01-23T16:57:00.617" v="71" actId="790"/>
          <ac:spMkLst>
            <pc:docMk/>
            <pc:sldMk cId="3362905413" sldId="308"/>
            <ac:spMk id="2" creationId="{EB4E5E96-B469-C391-2030-16DB28D7BF63}"/>
          </ac:spMkLst>
        </pc:spChg>
        <pc:spChg chg="mod">
          <ac:chgData name="Michele Rocco" userId="b98ebe7a-7641-4b10-bb82-27245654a50a" providerId="ADAL" clId="{05A8CA33-8AB0-4B87-A00A-3A9C909B6976}" dt="2024-01-23T16:57:00.617" v="72" actId="790"/>
          <ac:spMkLst>
            <pc:docMk/>
            <pc:sldMk cId="3362905413" sldId="308"/>
            <ac:spMk id="3" creationId="{912D1EE9-BEB5-DFA6-4279-4F76BD605B88}"/>
          </ac:spMkLst>
        </pc:spChg>
        <pc:spChg chg="mod">
          <ac:chgData name="Michele Rocco" userId="b98ebe7a-7641-4b10-bb82-27245654a50a" providerId="ADAL" clId="{05A8CA33-8AB0-4B87-A00A-3A9C909B6976}" dt="2024-01-23T16:57:00.617" v="73" actId="790"/>
          <ac:spMkLst>
            <pc:docMk/>
            <pc:sldMk cId="3362905413" sldId="308"/>
            <ac:spMk id="4" creationId="{8C89F5F8-4282-9880-248A-14AEB634FCF9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Michele Rocco" userId="b98ebe7a-7641-4b10-bb82-27245654a50a" providerId="ADAL" clId="{05A8CA33-8AB0-4B87-A00A-3A9C909B6976}" dt="2024-01-24T07:18:58.105" v="1467"/>
              <pc2:cmMkLst xmlns:pc2="http://schemas.microsoft.com/office/powerpoint/2019/9/main/command">
                <pc:docMk/>
                <pc:sldMk cId="3362905413" sldId="308"/>
                <pc2:cmMk id="{05023031-9D81-451E-869F-824F81EDCEE4}"/>
              </pc2:cmMkLst>
              <pc226:cmRplyChg chg="add">
                <pc226:chgData name="Michele Rocco" userId="b98ebe7a-7641-4b10-bb82-27245654a50a" providerId="ADAL" clId="{05A8CA33-8AB0-4B87-A00A-3A9C909B6976}" dt="2024-01-23T17:38:06.772" v="1169"/>
                <pc2:cmRplyMkLst xmlns:pc2="http://schemas.microsoft.com/office/powerpoint/2019/9/main/command">
                  <pc:docMk/>
                  <pc:sldMk cId="3362905413" sldId="308"/>
                  <pc2:cmMk id="{05023031-9D81-451E-869F-824F81EDCEE4}"/>
                  <pc2:cmRplyMk id="{EDFB8902-DF1C-446C-85EA-69621D5B42CB}"/>
                </pc2:cmRplyMkLst>
              </pc226:cmRplyChg>
            </pc226:cmChg>
          </p:ext>
        </pc:extLst>
      </pc:sldChg>
      <pc:sldChg chg="modSp mod">
        <pc:chgData name="Michele Rocco" userId="b98ebe7a-7641-4b10-bb82-27245654a50a" providerId="ADAL" clId="{05A8CA33-8AB0-4B87-A00A-3A9C909B6976}" dt="2024-01-23T16:57:00.622" v="85" actId="790"/>
        <pc:sldMkLst>
          <pc:docMk/>
          <pc:sldMk cId="1862611760" sldId="309"/>
        </pc:sldMkLst>
        <pc:spChg chg="mod">
          <ac:chgData name="Michele Rocco" userId="b98ebe7a-7641-4b10-bb82-27245654a50a" providerId="ADAL" clId="{05A8CA33-8AB0-4B87-A00A-3A9C909B6976}" dt="2024-01-23T16:57:00.622" v="83" actId="790"/>
          <ac:spMkLst>
            <pc:docMk/>
            <pc:sldMk cId="1862611760" sldId="309"/>
            <ac:spMk id="2" creationId="{F25E1798-44B9-E9A7-1C0B-8AB32CAA377B}"/>
          </ac:spMkLst>
        </pc:spChg>
        <pc:spChg chg="mod">
          <ac:chgData name="Michele Rocco" userId="b98ebe7a-7641-4b10-bb82-27245654a50a" providerId="ADAL" clId="{05A8CA33-8AB0-4B87-A00A-3A9C909B6976}" dt="2024-01-23T16:57:00.622" v="84" actId="790"/>
          <ac:spMkLst>
            <pc:docMk/>
            <pc:sldMk cId="1862611760" sldId="309"/>
            <ac:spMk id="3" creationId="{41E4BC4F-2D78-6B02-1168-9ABECD71B7ED}"/>
          </ac:spMkLst>
        </pc:spChg>
        <pc:spChg chg="mod">
          <ac:chgData name="Michele Rocco" userId="b98ebe7a-7641-4b10-bb82-27245654a50a" providerId="ADAL" clId="{05A8CA33-8AB0-4B87-A00A-3A9C909B6976}" dt="2024-01-23T16:57:00.622" v="85" actId="790"/>
          <ac:spMkLst>
            <pc:docMk/>
            <pc:sldMk cId="1862611760" sldId="309"/>
            <ac:spMk id="4" creationId="{A0ABF48E-89A5-B0C5-C33A-A5BD66C98035}"/>
          </ac:spMkLst>
        </pc:spChg>
      </pc:sldChg>
      <pc:sldChg chg="modSp mod">
        <pc:chgData name="Michele Rocco" userId="b98ebe7a-7641-4b10-bb82-27245654a50a" providerId="ADAL" clId="{05A8CA33-8AB0-4B87-A00A-3A9C909B6976}" dt="2024-01-23T16:57:00.622" v="82" actId="790"/>
        <pc:sldMkLst>
          <pc:docMk/>
          <pc:sldMk cId="3056404990" sldId="310"/>
        </pc:sldMkLst>
        <pc:spChg chg="mod">
          <ac:chgData name="Michele Rocco" userId="b98ebe7a-7641-4b10-bb82-27245654a50a" providerId="ADAL" clId="{05A8CA33-8AB0-4B87-A00A-3A9C909B6976}" dt="2024-01-23T16:57:00.622" v="80" actId="790"/>
          <ac:spMkLst>
            <pc:docMk/>
            <pc:sldMk cId="3056404990" sldId="310"/>
            <ac:spMk id="2" creationId="{662082BB-C9A7-C989-B91F-7342A9ACB82B}"/>
          </ac:spMkLst>
        </pc:spChg>
        <pc:spChg chg="mod">
          <ac:chgData name="Michele Rocco" userId="b98ebe7a-7641-4b10-bb82-27245654a50a" providerId="ADAL" clId="{05A8CA33-8AB0-4B87-A00A-3A9C909B6976}" dt="2024-01-23T16:57:00.622" v="81" actId="790"/>
          <ac:spMkLst>
            <pc:docMk/>
            <pc:sldMk cId="3056404990" sldId="310"/>
            <ac:spMk id="3" creationId="{A589CF3D-513F-869B-6271-13BB65B71BF6}"/>
          </ac:spMkLst>
        </pc:spChg>
        <pc:spChg chg="mod">
          <ac:chgData name="Michele Rocco" userId="b98ebe7a-7641-4b10-bb82-27245654a50a" providerId="ADAL" clId="{05A8CA33-8AB0-4B87-A00A-3A9C909B6976}" dt="2024-01-23T16:57:00.622" v="82" actId="790"/>
          <ac:spMkLst>
            <pc:docMk/>
            <pc:sldMk cId="3056404990" sldId="310"/>
            <ac:spMk id="4" creationId="{BA5243C9-C2BB-8BFE-121B-3E2B45085140}"/>
          </ac:spMkLst>
        </pc:spChg>
      </pc:sldChg>
      <pc:sldChg chg="modSp mod">
        <pc:chgData name="Michele Rocco" userId="b98ebe7a-7641-4b10-bb82-27245654a50a" providerId="ADAL" clId="{05A8CA33-8AB0-4B87-A00A-3A9C909B6976}" dt="2024-01-23T16:57:00.622" v="79" actId="790"/>
        <pc:sldMkLst>
          <pc:docMk/>
          <pc:sldMk cId="3396422946" sldId="311"/>
        </pc:sldMkLst>
        <pc:spChg chg="mod">
          <ac:chgData name="Michele Rocco" userId="b98ebe7a-7641-4b10-bb82-27245654a50a" providerId="ADAL" clId="{05A8CA33-8AB0-4B87-A00A-3A9C909B6976}" dt="2024-01-23T16:57:00.621" v="77" actId="790"/>
          <ac:spMkLst>
            <pc:docMk/>
            <pc:sldMk cId="3396422946" sldId="311"/>
            <ac:spMk id="2" creationId="{9A16C503-7AFD-C031-469E-EA35F5B3BDC7}"/>
          </ac:spMkLst>
        </pc:spChg>
        <pc:spChg chg="mod">
          <ac:chgData name="Michele Rocco" userId="b98ebe7a-7641-4b10-bb82-27245654a50a" providerId="ADAL" clId="{05A8CA33-8AB0-4B87-A00A-3A9C909B6976}" dt="2024-01-23T16:57:00.622" v="78" actId="790"/>
          <ac:spMkLst>
            <pc:docMk/>
            <pc:sldMk cId="3396422946" sldId="311"/>
            <ac:spMk id="3" creationId="{38B364D7-B999-D5A7-FC11-06050688C221}"/>
          </ac:spMkLst>
        </pc:spChg>
        <pc:spChg chg="mod">
          <ac:chgData name="Michele Rocco" userId="b98ebe7a-7641-4b10-bb82-27245654a50a" providerId="ADAL" clId="{05A8CA33-8AB0-4B87-A00A-3A9C909B6976}" dt="2024-01-23T16:57:00.622" v="79" actId="790"/>
          <ac:spMkLst>
            <pc:docMk/>
            <pc:sldMk cId="3396422946" sldId="311"/>
            <ac:spMk id="4" creationId="{F2C3791A-C8B0-C572-FB69-7B6B47469EC0}"/>
          </ac:spMkLst>
        </pc:spChg>
      </pc:sldChg>
      <pc:sldChg chg="modSp mod">
        <pc:chgData name="Michele Rocco" userId="b98ebe7a-7641-4b10-bb82-27245654a50a" providerId="ADAL" clId="{05A8CA33-8AB0-4B87-A00A-3A9C909B6976}" dt="2024-01-23T16:57:00.621" v="76" actId="790"/>
        <pc:sldMkLst>
          <pc:docMk/>
          <pc:sldMk cId="1829445697" sldId="312"/>
        </pc:sldMkLst>
        <pc:spChg chg="mod">
          <ac:chgData name="Michele Rocco" userId="b98ebe7a-7641-4b10-bb82-27245654a50a" providerId="ADAL" clId="{05A8CA33-8AB0-4B87-A00A-3A9C909B6976}" dt="2024-01-23T16:57:00.617" v="74" actId="790"/>
          <ac:spMkLst>
            <pc:docMk/>
            <pc:sldMk cId="1829445697" sldId="312"/>
            <ac:spMk id="2" creationId="{793736D8-6786-EB55-F087-EB850260E505}"/>
          </ac:spMkLst>
        </pc:spChg>
        <pc:spChg chg="mod">
          <ac:chgData name="Michele Rocco" userId="b98ebe7a-7641-4b10-bb82-27245654a50a" providerId="ADAL" clId="{05A8CA33-8AB0-4B87-A00A-3A9C909B6976}" dt="2024-01-23T16:57:00.617" v="75" actId="790"/>
          <ac:spMkLst>
            <pc:docMk/>
            <pc:sldMk cId="1829445697" sldId="312"/>
            <ac:spMk id="3" creationId="{5BF72A4A-6191-E999-9A0B-CB512B2A3546}"/>
          </ac:spMkLst>
        </pc:spChg>
        <pc:spChg chg="mod">
          <ac:chgData name="Michele Rocco" userId="b98ebe7a-7641-4b10-bb82-27245654a50a" providerId="ADAL" clId="{05A8CA33-8AB0-4B87-A00A-3A9C909B6976}" dt="2024-01-23T16:57:00.621" v="76" actId="790"/>
          <ac:spMkLst>
            <pc:docMk/>
            <pc:sldMk cId="1829445697" sldId="312"/>
            <ac:spMk id="4" creationId="{592032DC-2BC4-4330-0DFD-6AC6C47EE90B}"/>
          </ac:spMkLst>
        </pc:spChg>
      </pc:sldChg>
      <pc:sldChg chg="modSp mod">
        <pc:chgData name="Michele Rocco" userId="b98ebe7a-7641-4b10-bb82-27245654a50a" providerId="ADAL" clId="{05A8CA33-8AB0-4B87-A00A-3A9C909B6976}" dt="2024-01-23T16:57:00.636" v="89" actId="790"/>
        <pc:sldMkLst>
          <pc:docMk/>
          <pc:sldMk cId="4109715435" sldId="313"/>
        </pc:sldMkLst>
        <pc:spChg chg="mod">
          <ac:chgData name="Michele Rocco" userId="b98ebe7a-7641-4b10-bb82-27245654a50a" providerId="ADAL" clId="{05A8CA33-8AB0-4B87-A00A-3A9C909B6976}" dt="2024-01-23T16:57:00.636" v="87" actId="790"/>
          <ac:spMkLst>
            <pc:docMk/>
            <pc:sldMk cId="4109715435" sldId="313"/>
            <ac:spMk id="2" creationId="{2764E89C-42F0-7F7D-800A-DA392F66BC91}"/>
          </ac:spMkLst>
        </pc:spChg>
        <pc:spChg chg="mod">
          <ac:chgData name="Michele Rocco" userId="b98ebe7a-7641-4b10-bb82-27245654a50a" providerId="ADAL" clId="{05A8CA33-8AB0-4B87-A00A-3A9C909B6976}" dt="2024-01-23T16:57:00.636" v="88" actId="790"/>
          <ac:spMkLst>
            <pc:docMk/>
            <pc:sldMk cId="4109715435" sldId="313"/>
            <ac:spMk id="3" creationId="{937AAAB0-FB21-FB0E-A628-9C20C23B6347}"/>
          </ac:spMkLst>
        </pc:spChg>
        <pc:spChg chg="mod">
          <ac:chgData name="Michele Rocco" userId="b98ebe7a-7641-4b10-bb82-27245654a50a" providerId="ADAL" clId="{05A8CA33-8AB0-4B87-A00A-3A9C909B6976}" dt="2024-01-23T16:57:00.636" v="89" actId="790"/>
          <ac:spMkLst>
            <pc:docMk/>
            <pc:sldMk cId="4109715435" sldId="313"/>
            <ac:spMk id="4" creationId="{AAB1B8BC-4F92-6038-D555-1AD1EDEF431A}"/>
          </ac:spMkLst>
        </pc:spChg>
        <pc:spChg chg="mod">
          <ac:chgData name="Michele Rocco" userId="b98ebe7a-7641-4b10-bb82-27245654a50a" providerId="ADAL" clId="{05A8CA33-8AB0-4B87-A00A-3A9C909B6976}" dt="2024-01-23T16:57:00.633" v="86" actId="790"/>
          <ac:spMkLst>
            <pc:docMk/>
            <pc:sldMk cId="4109715435" sldId="313"/>
            <ac:spMk id="7" creationId="{8ED043E4-ED32-1DA9-33FC-E4B34D009A79}"/>
          </ac:spMkLst>
        </pc:spChg>
      </pc:sldChg>
      <pc:sldChg chg="modSp mod">
        <pc:chgData name="Michele Rocco" userId="b98ebe7a-7641-4b10-bb82-27245654a50a" providerId="ADAL" clId="{05A8CA33-8AB0-4B87-A00A-3A9C909B6976}" dt="2024-01-23T16:57:00.638" v="94" actId="790"/>
        <pc:sldMkLst>
          <pc:docMk/>
          <pc:sldMk cId="2059814184" sldId="314"/>
        </pc:sldMkLst>
        <pc:spChg chg="mod">
          <ac:chgData name="Michele Rocco" userId="b98ebe7a-7641-4b10-bb82-27245654a50a" providerId="ADAL" clId="{05A8CA33-8AB0-4B87-A00A-3A9C909B6976}" dt="2024-01-23T16:57:00.638" v="92" actId="790"/>
          <ac:spMkLst>
            <pc:docMk/>
            <pc:sldMk cId="2059814184" sldId="314"/>
            <ac:spMk id="2" creationId="{509CB6E0-7C4E-FA68-855F-FA3F11EF009A}"/>
          </ac:spMkLst>
        </pc:spChg>
        <pc:spChg chg="mod">
          <ac:chgData name="Michele Rocco" userId="b98ebe7a-7641-4b10-bb82-27245654a50a" providerId="ADAL" clId="{05A8CA33-8AB0-4B87-A00A-3A9C909B6976}" dt="2024-01-23T16:57:00.638" v="93" actId="790"/>
          <ac:spMkLst>
            <pc:docMk/>
            <pc:sldMk cId="2059814184" sldId="314"/>
            <ac:spMk id="3" creationId="{D964BEB2-F5CE-C6AE-DBE5-E711CFD480FC}"/>
          </ac:spMkLst>
        </pc:spChg>
        <pc:spChg chg="mod">
          <ac:chgData name="Michele Rocco" userId="b98ebe7a-7641-4b10-bb82-27245654a50a" providerId="ADAL" clId="{05A8CA33-8AB0-4B87-A00A-3A9C909B6976}" dt="2024-01-23T16:57:00.638" v="94" actId="790"/>
          <ac:spMkLst>
            <pc:docMk/>
            <pc:sldMk cId="2059814184" sldId="314"/>
            <ac:spMk id="4" creationId="{17D8D4C6-CC93-6C62-3C2C-3433A59A01CD}"/>
          </ac:spMkLst>
        </pc:spChg>
      </pc:sldChg>
      <pc:sldChg chg="modSp mod">
        <pc:chgData name="Michele Rocco" userId="b98ebe7a-7641-4b10-bb82-27245654a50a" providerId="ADAL" clId="{05A8CA33-8AB0-4B87-A00A-3A9C909B6976}" dt="2024-01-23T16:57:00.638" v="97" actId="790"/>
        <pc:sldMkLst>
          <pc:docMk/>
          <pc:sldMk cId="3439177903" sldId="315"/>
        </pc:sldMkLst>
        <pc:spChg chg="mod">
          <ac:chgData name="Michele Rocco" userId="b98ebe7a-7641-4b10-bb82-27245654a50a" providerId="ADAL" clId="{05A8CA33-8AB0-4B87-A00A-3A9C909B6976}" dt="2024-01-23T16:57:00.638" v="95" actId="790"/>
          <ac:spMkLst>
            <pc:docMk/>
            <pc:sldMk cId="3439177903" sldId="315"/>
            <ac:spMk id="2" creationId="{269EADC7-9785-5346-94A3-EAE0A512B506}"/>
          </ac:spMkLst>
        </pc:spChg>
        <pc:spChg chg="mod">
          <ac:chgData name="Michele Rocco" userId="b98ebe7a-7641-4b10-bb82-27245654a50a" providerId="ADAL" clId="{05A8CA33-8AB0-4B87-A00A-3A9C909B6976}" dt="2024-01-23T16:57:00.638" v="96" actId="790"/>
          <ac:spMkLst>
            <pc:docMk/>
            <pc:sldMk cId="3439177903" sldId="315"/>
            <ac:spMk id="3" creationId="{3AEB9BE1-DBDC-6865-0261-87E9C390861F}"/>
          </ac:spMkLst>
        </pc:spChg>
        <pc:spChg chg="mod">
          <ac:chgData name="Michele Rocco" userId="b98ebe7a-7641-4b10-bb82-27245654a50a" providerId="ADAL" clId="{05A8CA33-8AB0-4B87-A00A-3A9C909B6976}" dt="2024-01-23T16:57:00.638" v="97" actId="790"/>
          <ac:spMkLst>
            <pc:docMk/>
            <pc:sldMk cId="3439177903" sldId="315"/>
            <ac:spMk id="4" creationId="{1546110C-2787-52D9-DB63-2779EE687B81}"/>
          </ac:spMkLst>
        </pc:spChg>
      </pc:sldChg>
      <pc:sldChg chg="modSp mod addCm modCm">
        <pc:chgData name="Michele Rocco" userId="b98ebe7a-7641-4b10-bb82-27245654a50a" providerId="ADAL" clId="{05A8CA33-8AB0-4B87-A00A-3A9C909B6976}" dt="2024-01-24T07:54:00.496" v="2525"/>
        <pc:sldMkLst>
          <pc:docMk/>
          <pc:sldMk cId="2060001824" sldId="316"/>
        </pc:sldMkLst>
        <pc:spChg chg="mod">
          <ac:chgData name="Michele Rocco" userId="b98ebe7a-7641-4b10-bb82-27245654a50a" providerId="ADAL" clId="{05A8CA33-8AB0-4B87-A00A-3A9C909B6976}" dt="2024-01-23T16:57:00.644" v="101" actId="790"/>
          <ac:spMkLst>
            <pc:docMk/>
            <pc:sldMk cId="2060001824" sldId="316"/>
            <ac:spMk id="2" creationId="{A756B1FB-9540-2596-7D4B-27C539B10990}"/>
          </ac:spMkLst>
        </pc:spChg>
        <pc:spChg chg="mod">
          <ac:chgData name="Michele Rocco" userId="b98ebe7a-7641-4b10-bb82-27245654a50a" providerId="ADAL" clId="{05A8CA33-8AB0-4B87-A00A-3A9C909B6976}" dt="2024-01-23T16:57:00.645" v="102" actId="790"/>
          <ac:spMkLst>
            <pc:docMk/>
            <pc:sldMk cId="2060001824" sldId="316"/>
            <ac:spMk id="3" creationId="{0B31949C-26FB-610D-FC88-40F235BE7DDC}"/>
          </ac:spMkLst>
        </pc:spChg>
        <pc:spChg chg="mod">
          <ac:chgData name="Michele Rocco" userId="b98ebe7a-7641-4b10-bb82-27245654a50a" providerId="ADAL" clId="{05A8CA33-8AB0-4B87-A00A-3A9C909B6976}" dt="2024-01-23T16:57:00.645" v="103" actId="790"/>
          <ac:spMkLst>
            <pc:docMk/>
            <pc:sldMk cId="2060001824" sldId="316"/>
            <ac:spMk id="4" creationId="{BF1C61F8-8264-373D-FCEE-183CFD9A72C3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Michele Rocco" userId="b98ebe7a-7641-4b10-bb82-27245654a50a" providerId="ADAL" clId="{05A8CA33-8AB0-4B87-A00A-3A9C909B6976}" dt="2024-01-24T07:53:41.544" v="2524"/>
              <pc2:cmMkLst xmlns:pc2="http://schemas.microsoft.com/office/powerpoint/2019/9/main/command">
                <pc:docMk/>
                <pc:sldMk cId="2060001824" sldId="316"/>
                <pc2:cmMk id="{EB56E472-2FD7-44A6-B634-1CE338E37EBE}"/>
              </pc2:cmMkLst>
              <pc226:cmRplyChg chg="mod modRxn">
                <pc226:chgData name="Michele Rocco" userId="b98ebe7a-7641-4b10-bb82-27245654a50a" providerId="ADAL" clId="{05A8CA33-8AB0-4B87-A00A-3A9C909B6976}" dt="2024-01-24T07:53:41.544" v="2524"/>
                <pc2:cmRplyMkLst xmlns:pc2="http://schemas.microsoft.com/office/powerpoint/2019/9/main/command">
                  <pc:docMk/>
                  <pc:sldMk cId="2060001824" sldId="316"/>
                  <pc2:cmMk id="{EB56E472-2FD7-44A6-B634-1CE338E37EBE}"/>
                  <pc2:cmRplyMk id="{B3DF4DA5-65E8-47E6-B3B9-64FE597D93C3}"/>
                </pc2:cmRplyMkLst>
              </pc226:cmRplyChg>
            </pc226:cmChg>
            <pc226:cmChg xmlns:pc226="http://schemas.microsoft.com/office/powerpoint/2022/06/main/command" chg="add">
              <pc226:chgData name="Michele Rocco" userId="b98ebe7a-7641-4b10-bb82-27245654a50a" providerId="ADAL" clId="{05A8CA33-8AB0-4B87-A00A-3A9C909B6976}" dt="2024-01-24T07:54:00.496" v="2525"/>
              <pc2:cmMkLst xmlns:pc2="http://schemas.microsoft.com/office/powerpoint/2019/9/main/command">
                <pc:docMk/>
                <pc:sldMk cId="2060001824" sldId="316"/>
                <pc2:cmMk id="{64EC8879-8C64-4200-BB54-2E6B6F14DD03}"/>
              </pc2:cmMkLst>
              <pc226:cmRplyChg chg="add">
                <pc226:chgData name="Michele Rocco" userId="b98ebe7a-7641-4b10-bb82-27245654a50a" providerId="ADAL" clId="{05A8CA33-8AB0-4B87-A00A-3A9C909B6976}" dt="2024-01-24T07:54:00.496" v="2525"/>
                <pc2:cmRplyMkLst xmlns:pc2="http://schemas.microsoft.com/office/powerpoint/2019/9/main/command">
                  <pc:docMk/>
                  <pc:sldMk cId="2060001824" sldId="316"/>
                  <pc2:cmMk id="{64EC8879-8C64-4200-BB54-2E6B6F14DD03}"/>
                  <pc2:cmRplyMk id="{AC5DC7CB-F637-4211-8C04-86999DA498DC}"/>
                </pc2:cmRplyMkLst>
              </pc226:cmRplyChg>
            </pc226:cmChg>
          </p:ext>
        </pc:extLst>
      </pc:sldChg>
      <pc:sldChg chg="modSp mod">
        <pc:chgData name="Michele Rocco" userId="b98ebe7a-7641-4b10-bb82-27245654a50a" providerId="ADAL" clId="{05A8CA33-8AB0-4B87-A00A-3A9C909B6976}" dt="2024-01-23T16:57:00.644" v="100" actId="790"/>
        <pc:sldMkLst>
          <pc:docMk/>
          <pc:sldMk cId="4110969131" sldId="317"/>
        </pc:sldMkLst>
        <pc:spChg chg="mod">
          <ac:chgData name="Michele Rocco" userId="b98ebe7a-7641-4b10-bb82-27245654a50a" providerId="ADAL" clId="{05A8CA33-8AB0-4B87-A00A-3A9C909B6976}" dt="2024-01-23T16:57:00.638" v="98" actId="790"/>
          <ac:spMkLst>
            <pc:docMk/>
            <pc:sldMk cId="4110969131" sldId="317"/>
            <ac:spMk id="2" creationId="{A22F9CB1-AC90-8475-C8E1-97FF6580DE7E}"/>
          </ac:spMkLst>
        </pc:spChg>
        <pc:spChg chg="mod">
          <ac:chgData name="Michele Rocco" userId="b98ebe7a-7641-4b10-bb82-27245654a50a" providerId="ADAL" clId="{05A8CA33-8AB0-4B87-A00A-3A9C909B6976}" dt="2024-01-23T16:57:00.643" v="99" actId="790"/>
          <ac:spMkLst>
            <pc:docMk/>
            <pc:sldMk cId="4110969131" sldId="317"/>
            <ac:spMk id="3" creationId="{F0A23098-E944-A3E4-7C24-632EC5E982C2}"/>
          </ac:spMkLst>
        </pc:spChg>
        <pc:spChg chg="mod">
          <ac:chgData name="Michele Rocco" userId="b98ebe7a-7641-4b10-bb82-27245654a50a" providerId="ADAL" clId="{05A8CA33-8AB0-4B87-A00A-3A9C909B6976}" dt="2024-01-23T16:57:00.644" v="100" actId="790"/>
          <ac:spMkLst>
            <pc:docMk/>
            <pc:sldMk cId="4110969131" sldId="317"/>
            <ac:spMk id="4" creationId="{6DE4AFBB-8FDE-CF49-07E7-F13614DF9C6D}"/>
          </ac:spMkLst>
        </pc:spChg>
      </pc:sldChg>
      <pc:sldChg chg="modSp mod">
        <pc:chgData name="Michele Rocco" userId="b98ebe7a-7641-4b10-bb82-27245654a50a" providerId="ADAL" clId="{05A8CA33-8AB0-4B87-A00A-3A9C909B6976}" dt="2024-01-23T16:57:00.645" v="106" actId="790"/>
        <pc:sldMkLst>
          <pc:docMk/>
          <pc:sldMk cId="2600840893" sldId="319"/>
        </pc:sldMkLst>
        <pc:spChg chg="mod">
          <ac:chgData name="Michele Rocco" userId="b98ebe7a-7641-4b10-bb82-27245654a50a" providerId="ADAL" clId="{05A8CA33-8AB0-4B87-A00A-3A9C909B6976}" dt="2024-01-23T16:57:00.645" v="104" actId="790"/>
          <ac:spMkLst>
            <pc:docMk/>
            <pc:sldMk cId="2600840893" sldId="319"/>
            <ac:spMk id="2" creationId="{16DB9D3C-9CCE-D1F9-3064-F64D8ABE9A78}"/>
          </ac:spMkLst>
        </pc:spChg>
        <pc:spChg chg="mod">
          <ac:chgData name="Michele Rocco" userId="b98ebe7a-7641-4b10-bb82-27245654a50a" providerId="ADAL" clId="{05A8CA33-8AB0-4B87-A00A-3A9C909B6976}" dt="2024-01-23T16:57:00.645" v="105" actId="790"/>
          <ac:spMkLst>
            <pc:docMk/>
            <pc:sldMk cId="2600840893" sldId="319"/>
            <ac:spMk id="3" creationId="{1F19057B-0A97-2CB9-1B18-70019322D3DC}"/>
          </ac:spMkLst>
        </pc:spChg>
        <pc:spChg chg="mod">
          <ac:chgData name="Michele Rocco" userId="b98ebe7a-7641-4b10-bb82-27245654a50a" providerId="ADAL" clId="{05A8CA33-8AB0-4B87-A00A-3A9C909B6976}" dt="2024-01-23T16:57:00.645" v="106" actId="790"/>
          <ac:spMkLst>
            <pc:docMk/>
            <pc:sldMk cId="2600840893" sldId="319"/>
            <ac:spMk id="4" creationId="{12EB4926-D290-EE97-B8B6-FA305D64E60A}"/>
          </ac:spMkLst>
        </pc:spChg>
      </pc:sldChg>
      <pc:sldChg chg="modSp mod">
        <pc:chgData name="Michele Rocco" userId="b98ebe7a-7641-4b10-bb82-27245654a50a" providerId="ADAL" clId="{05A8CA33-8AB0-4B87-A00A-3A9C909B6976}" dt="2024-01-23T16:57:00.645" v="109" actId="790"/>
        <pc:sldMkLst>
          <pc:docMk/>
          <pc:sldMk cId="2371849535" sldId="320"/>
        </pc:sldMkLst>
        <pc:spChg chg="mod">
          <ac:chgData name="Michele Rocco" userId="b98ebe7a-7641-4b10-bb82-27245654a50a" providerId="ADAL" clId="{05A8CA33-8AB0-4B87-A00A-3A9C909B6976}" dt="2024-01-23T16:57:00.645" v="107" actId="790"/>
          <ac:spMkLst>
            <pc:docMk/>
            <pc:sldMk cId="2371849535" sldId="320"/>
            <ac:spMk id="2" creationId="{5E0C03EA-E9A5-1D99-BB3A-CD23664A6BC5}"/>
          </ac:spMkLst>
        </pc:spChg>
        <pc:spChg chg="mod">
          <ac:chgData name="Michele Rocco" userId="b98ebe7a-7641-4b10-bb82-27245654a50a" providerId="ADAL" clId="{05A8CA33-8AB0-4B87-A00A-3A9C909B6976}" dt="2024-01-23T16:57:00.645" v="108" actId="790"/>
          <ac:spMkLst>
            <pc:docMk/>
            <pc:sldMk cId="2371849535" sldId="320"/>
            <ac:spMk id="3" creationId="{661B814A-9DC5-69DB-B931-CB393FE31292}"/>
          </ac:spMkLst>
        </pc:spChg>
        <pc:spChg chg="mod">
          <ac:chgData name="Michele Rocco" userId="b98ebe7a-7641-4b10-bb82-27245654a50a" providerId="ADAL" clId="{05A8CA33-8AB0-4B87-A00A-3A9C909B6976}" dt="2024-01-23T16:57:00.645" v="109" actId="790"/>
          <ac:spMkLst>
            <pc:docMk/>
            <pc:sldMk cId="2371849535" sldId="320"/>
            <ac:spMk id="4" creationId="{ADF60A34-F67C-9E2C-7FA5-7CE36C44813D}"/>
          </ac:spMkLst>
        </pc:spChg>
      </pc:sldChg>
      <pc:sldChg chg="modSp mod">
        <pc:chgData name="Michele Rocco" userId="b98ebe7a-7641-4b10-bb82-27245654a50a" providerId="ADAL" clId="{05A8CA33-8AB0-4B87-A00A-3A9C909B6976}" dt="2024-01-23T16:57:00.547" v="8" actId="790"/>
        <pc:sldMkLst>
          <pc:docMk/>
          <pc:sldMk cId="532413471" sldId="321"/>
        </pc:sldMkLst>
        <pc:spChg chg="mod">
          <ac:chgData name="Michele Rocco" userId="b98ebe7a-7641-4b10-bb82-27245654a50a" providerId="ADAL" clId="{05A8CA33-8AB0-4B87-A00A-3A9C909B6976}" dt="2024-01-23T16:57:00.547" v="8" actId="790"/>
          <ac:spMkLst>
            <pc:docMk/>
            <pc:sldMk cId="532413471" sldId="321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547" v="7" actId="790"/>
          <ac:spMkLst>
            <pc:docMk/>
            <pc:sldMk cId="532413471" sldId="321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602" v="44" actId="790"/>
        <pc:sldMkLst>
          <pc:docMk/>
          <pc:sldMk cId="902660526" sldId="322"/>
        </pc:sldMkLst>
        <pc:spChg chg="mod">
          <ac:chgData name="Michele Rocco" userId="b98ebe7a-7641-4b10-bb82-27245654a50a" providerId="ADAL" clId="{05A8CA33-8AB0-4B87-A00A-3A9C909B6976}" dt="2024-01-23T16:57:00.602" v="44" actId="790"/>
          <ac:spMkLst>
            <pc:docMk/>
            <pc:sldMk cId="902660526" sldId="322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602" v="43" actId="790"/>
          <ac:spMkLst>
            <pc:docMk/>
            <pc:sldMk cId="902660526" sldId="322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616" v="67" actId="790"/>
        <pc:sldMkLst>
          <pc:docMk/>
          <pc:sldMk cId="3702300545" sldId="323"/>
        </pc:sldMkLst>
        <pc:spChg chg="mod">
          <ac:chgData name="Michele Rocco" userId="b98ebe7a-7641-4b10-bb82-27245654a50a" providerId="ADAL" clId="{05A8CA33-8AB0-4B87-A00A-3A9C909B6976}" dt="2024-01-23T16:57:00.616" v="67" actId="790"/>
          <ac:spMkLst>
            <pc:docMk/>
            <pc:sldMk cId="3702300545" sldId="323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613" v="66" actId="790"/>
          <ac:spMkLst>
            <pc:docMk/>
            <pc:sldMk cId="3702300545" sldId="323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638" v="91" actId="790"/>
        <pc:sldMkLst>
          <pc:docMk/>
          <pc:sldMk cId="2885120835" sldId="324"/>
        </pc:sldMkLst>
        <pc:spChg chg="mod">
          <ac:chgData name="Michele Rocco" userId="b98ebe7a-7641-4b10-bb82-27245654a50a" providerId="ADAL" clId="{05A8CA33-8AB0-4B87-A00A-3A9C909B6976}" dt="2024-01-23T16:57:00.638" v="91" actId="790"/>
          <ac:spMkLst>
            <pc:docMk/>
            <pc:sldMk cId="2885120835" sldId="324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638" v="90" actId="790"/>
          <ac:spMkLst>
            <pc:docMk/>
            <pc:sldMk cId="2885120835" sldId="324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652" v="111" actId="790"/>
        <pc:sldMkLst>
          <pc:docMk/>
          <pc:sldMk cId="2835239964" sldId="325"/>
        </pc:sldMkLst>
        <pc:spChg chg="mod">
          <ac:chgData name="Michele Rocco" userId="b98ebe7a-7641-4b10-bb82-27245654a50a" providerId="ADAL" clId="{05A8CA33-8AB0-4B87-A00A-3A9C909B6976}" dt="2024-01-23T16:57:00.652" v="111" actId="790"/>
          <ac:spMkLst>
            <pc:docMk/>
            <pc:sldMk cId="2835239964" sldId="325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645" v="110" actId="790"/>
          <ac:spMkLst>
            <pc:docMk/>
            <pc:sldMk cId="2835239964" sldId="325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654" v="115" actId="790"/>
        <pc:sldMkLst>
          <pc:docMk/>
          <pc:sldMk cId="1343076952" sldId="326"/>
        </pc:sldMkLst>
        <pc:spChg chg="mod">
          <ac:chgData name="Michele Rocco" userId="b98ebe7a-7641-4b10-bb82-27245654a50a" providerId="ADAL" clId="{05A8CA33-8AB0-4B87-A00A-3A9C909B6976}" dt="2024-01-23T16:57:00.652" v="112" actId="790"/>
          <ac:spMkLst>
            <pc:docMk/>
            <pc:sldMk cId="1343076952" sldId="326"/>
            <ac:spMk id="2" creationId="{145C7072-5EF5-6DF5-5FAB-D140D0531EC4}"/>
          </ac:spMkLst>
        </pc:spChg>
        <pc:spChg chg="mod">
          <ac:chgData name="Michele Rocco" userId="b98ebe7a-7641-4b10-bb82-27245654a50a" providerId="ADAL" clId="{05A8CA33-8AB0-4B87-A00A-3A9C909B6976}" dt="2024-01-23T16:57:00.653" v="113" actId="790"/>
          <ac:spMkLst>
            <pc:docMk/>
            <pc:sldMk cId="1343076952" sldId="326"/>
            <ac:spMk id="3" creationId="{29BDDA70-D7E3-C17F-663E-2B5F6669930B}"/>
          </ac:spMkLst>
        </pc:spChg>
        <pc:spChg chg="mod">
          <ac:chgData name="Michele Rocco" userId="b98ebe7a-7641-4b10-bb82-27245654a50a" providerId="ADAL" clId="{05A8CA33-8AB0-4B87-A00A-3A9C909B6976}" dt="2024-01-23T16:57:00.653" v="114" actId="790"/>
          <ac:spMkLst>
            <pc:docMk/>
            <pc:sldMk cId="1343076952" sldId="326"/>
            <ac:spMk id="4" creationId="{35FF5FA8-2F2B-E553-D5D8-7A3D9D161BC3}"/>
          </ac:spMkLst>
        </pc:spChg>
        <pc:spChg chg="mod">
          <ac:chgData name="Michele Rocco" userId="b98ebe7a-7641-4b10-bb82-27245654a50a" providerId="ADAL" clId="{05A8CA33-8AB0-4B87-A00A-3A9C909B6976}" dt="2024-01-23T16:57:00.654" v="115" actId="790"/>
          <ac:spMkLst>
            <pc:docMk/>
            <pc:sldMk cId="1343076952" sldId="326"/>
            <ac:spMk id="5" creationId="{19622A6B-51E6-AC35-010A-AF1AAB6B1767}"/>
          </ac:spMkLst>
        </pc:spChg>
      </pc:sldChg>
      <pc:sldChg chg="addSp delSp modSp new mod modClrScheme chgLayout modNotesTx">
        <pc:chgData name="Michele Rocco" userId="b98ebe7a-7641-4b10-bb82-27245654a50a" providerId="ADAL" clId="{05A8CA33-8AB0-4B87-A00A-3A9C909B6976}" dt="2024-01-24T08:06:29.990" v="3547" actId="20577"/>
        <pc:sldMkLst>
          <pc:docMk/>
          <pc:sldMk cId="1867967926" sldId="327"/>
        </pc:sldMkLst>
        <pc:spChg chg="mod ord">
          <ac:chgData name="Michele Rocco" userId="b98ebe7a-7641-4b10-bb82-27245654a50a" providerId="ADAL" clId="{05A8CA33-8AB0-4B87-A00A-3A9C909B6976}" dt="2024-01-23T16:59:15.821" v="185" actId="700"/>
          <ac:spMkLst>
            <pc:docMk/>
            <pc:sldMk cId="1867967926" sldId="327"/>
            <ac:spMk id="2" creationId="{34E35DDA-B160-2AC2-54A4-CBDB319C8517}"/>
          </ac:spMkLst>
        </pc:spChg>
        <pc:spChg chg="mod ord">
          <ac:chgData name="Michele Rocco" userId="b98ebe7a-7641-4b10-bb82-27245654a50a" providerId="ADAL" clId="{05A8CA33-8AB0-4B87-A00A-3A9C909B6976}" dt="2024-01-23T16:59:15.821" v="185" actId="700"/>
          <ac:spMkLst>
            <pc:docMk/>
            <pc:sldMk cId="1867967926" sldId="327"/>
            <ac:spMk id="3" creationId="{C6545697-8F02-7502-B5CD-86ED2AEC9286}"/>
          </ac:spMkLst>
        </pc:spChg>
        <pc:spChg chg="mod ord">
          <ac:chgData name="Michele Rocco" userId="b98ebe7a-7641-4b10-bb82-27245654a50a" providerId="ADAL" clId="{05A8CA33-8AB0-4B87-A00A-3A9C909B6976}" dt="2024-01-23T16:59:15.821" v="185" actId="700"/>
          <ac:spMkLst>
            <pc:docMk/>
            <pc:sldMk cId="1867967926" sldId="327"/>
            <ac:spMk id="4" creationId="{851A479E-D944-5C30-75C5-C9D68F2EAD92}"/>
          </ac:spMkLst>
        </pc:spChg>
        <pc:spChg chg="add mod ord">
          <ac:chgData name="Michele Rocco" userId="b98ebe7a-7641-4b10-bb82-27245654a50a" providerId="ADAL" clId="{05A8CA33-8AB0-4B87-A00A-3A9C909B6976}" dt="2024-01-24T07:58:18.564" v="2586" actId="20577"/>
          <ac:spMkLst>
            <pc:docMk/>
            <pc:sldMk cId="1867967926" sldId="327"/>
            <ac:spMk id="5" creationId="{9EF8758A-CB2F-D621-8BFB-56049135185C}"/>
          </ac:spMkLst>
        </pc:spChg>
        <pc:spChg chg="add del mod">
          <ac:chgData name="Michele Rocco" userId="b98ebe7a-7641-4b10-bb82-27245654a50a" providerId="ADAL" clId="{05A8CA33-8AB0-4B87-A00A-3A9C909B6976}" dt="2024-01-23T18:41:44.195" v="1215" actId="478"/>
          <ac:spMkLst>
            <pc:docMk/>
            <pc:sldMk cId="1867967926" sldId="327"/>
            <ac:spMk id="10" creationId="{FA2218D0-B8A8-360C-F950-3272B884EB27}"/>
          </ac:spMkLst>
        </pc:spChg>
        <pc:spChg chg="add mod">
          <ac:chgData name="Michele Rocco" userId="b98ebe7a-7641-4b10-bb82-27245654a50a" providerId="ADAL" clId="{05A8CA33-8AB0-4B87-A00A-3A9C909B6976}" dt="2024-01-23T18:54:39.219" v="1332" actId="1076"/>
          <ac:spMkLst>
            <pc:docMk/>
            <pc:sldMk cId="1867967926" sldId="327"/>
            <ac:spMk id="13" creationId="{8E61545D-F03B-2A2C-74E9-34C76939388F}"/>
          </ac:spMkLst>
        </pc:spChg>
        <pc:picChg chg="add mod">
          <ac:chgData name="Michele Rocco" userId="b98ebe7a-7641-4b10-bb82-27245654a50a" providerId="ADAL" clId="{05A8CA33-8AB0-4B87-A00A-3A9C909B6976}" dt="2024-01-23T17:01:57.207" v="242" actId="931"/>
          <ac:picMkLst>
            <pc:docMk/>
            <pc:sldMk cId="1867967926" sldId="327"/>
            <ac:picMk id="7" creationId="{1BED42F4-EBAD-5CA6-8B4D-7DD9991E7EC8}"/>
          </ac:picMkLst>
        </pc:picChg>
        <pc:picChg chg="add mod">
          <ac:chgData name="Michele Rocco" userId="b98ebe7a-7641-4b10-bb82-27245654a50a" providerId="ADAL" clId="{05A8CA33-8AB0-4B87-A00A-3A9C909B6976}" dt="2024-01-23T18:54:27.663" v="1331" actId="1076"/>
          <ac:picMkLst>
            <pc:docMk/>
            <pc:sldMk cId="1867967926" sldId="327"/>
            <ac:picMk id="9" creationId="{B8DD1FF0-2E1D-12DD-ED4E-CDD114CF53CD}"/>
          </ac:picMkLst>
        </pc:picChg>
        <pc:picChg chg="add mod">
          <ac:chgData name="Michele Rocco" userId="b98ebe7a-7641-4b10-bb82-27245654a50a" providerId="ADAL" clId="{05A8CA33-8AB0-4B87-A00A-3A9C909B6976}" dt="2024-01-23T18:49:14.596" v="1263" actId="1076"/>
          <ac:picMkLst>
            <pc:docMk/>
            <pc:sldMk cId="1867967926" sldId="327"/>
            <ac:picMk id="12" creationId="{6ECB3B52-097E-E43B-2F81-F8AD4B73B403}"/>
          </ac:picMkLst>
        </pc:picChg>
      </pc:sldChg>
      <pc:sldChg chg="addSp delSp modSp new mod modNotesTx">
        <pc:chgData name="Michele Rocco" userId="b98ebe7a-7641-4b10-bb82-27245654a50a" providerId="ADAL" clId="{05A8CA33-8AB0-4B87-A00A-3A9C909B6976}" dt="2024-01-24T08:28:32.718" v="6550" actId="20577"/>
        <pc:sldMkLst>
          <pc:docMk/>
          <pc:sldMk cId="938758504" sldId="328"/>
        </pc:sldMkLst>
        <pc:spChg chg="mod">
          <ac:chgData name="Michele Rocco" userId="b98ebe7a-7641-4b10-bb82-27245654a50a" providerId="ADAL" clId="{05A8CA33-8AB0-4B87-A00A-3A9C909B6976}" dt="2024-01-23T17:20:24.967" v="875" actId="20577"/>
          <ac:spMkLst>
            <pc:docMk/>
            <pc:sldMk cId="938758504" sldId="328"/>
            <ac:spMk id="2" creationId="{47950766-BA22-3A95-CBEF-5A83B30DC979}"/>
          </ac:spMkLst>
        </pc:spChg>
        <pc:spChg chg="mod">
          <ac:chgData name="Michele Rocco" userId="b98ebe7a-7641-4b10-bb82-27245654a50a" providerId="ADAL" clId="{05A8CA33-8AB0-4B87-A00A-3A9C909B6976}" dt="2024-01-23T17:08:01.974" v="396" actId="20577"/>
          <ac:spMkLst>
            <pc:docMk/>
            <pc:sldMk cId="938758504" sldId="328"/>
            <ac:spMk id="3" creationId="{F0C5D8A6-3440-2145-C1F5-DB3C438433BD}"/>
          </ac:spMkLst>
        </pc:spChg>
        <pc:spChg chg="add del mod">
          <ac:chgData name="Michele Rocco" userId="b98ebe7a-7641-4b10-bb82-27245654a50a" providerId="ADAL" clId="{05A8CA33-8AB0-4B87-A00A-3A9C909B6976}" dt="2024-01-23T17:32:29.104" v="1069" actId="478"/>
          <ac:spMkLst>
            <pc:docMk/>
            <pc:sldMk cId="938758504" sldId="328"/>
            <ac:spMk id="8" creationId="{F7140CBA-40F9-FEDC-015C-FE2D21C56117}"/>
          </ac:spMkLst>
        </pc:spChg>
        <pc:spChg chg="add mod">
          <ac:chgData name="Michele Rocco" userId="b98ebe7a-7641-4b10-bb82-27245654a50a" providerId="ADAL" clId="{05A8CA33-8AB0-4B87-A00A-3A9C909B6976}" dt="2024-01-23T17:36:42.593" v="1116" actId="2085"/>
          <ac:spMkLst>
            <pc:docMk/>
            <pc:sldMk cId="938758504" sldId="328"/>
            <ac:spMk id="9" creationId="{3C96DC06-5653-10FC-3517-47D6BC3FA8E7}"/>
          </ac:spMkLst>
        </pc:spChg>
        <pc:spChg chg="add mod">
          <ac:chgData name="Michele Rocco" userId="b98ebe7a-7641-4b10-bb82-27245654a50a" providerId="ADAL" clId="{05A8CA33-8AB0-4B87-A00A-3A9C909B6976}" dt="2024-01-23T17:36:42.593" v="1116" actId="2085"/>
          <ac:spMkLst>
            <pc:docMk/>
            <pc:sldMk cId="938758504" sldId="328"/>
            <ac:spMk id="15" creationId="{D4F6A066-CAA6-ABD4-26F8-74C3442183B7}"/>
          </ac:spMkLst>
        </pc:spChg>
        <pc:spChg chg="add del mod">
          <ac:chgData name="Michele Rocco" userId="b98ebe7a-7641-4b10-bb82-27245654a50a" providerId="ADAL" clId="{05A8CA33-8AB0-4B87-A00A-3A9C909B6976}" dt="2024-01-23T17:35:34.403" v="1106" actId="478"/>
          <ac:spMkLst>
            <pc:docMk/>
            <pc:sldMk cId="938758504" sldId="328"/>
            <ac:spMk id="34" creationId="{61C40655-00EF-35B7-F541-F0E8169AD99D}"/>
          </ac:spMkLst>
        </pc:spChg>
        <pc:spChg chg="add mod">
          <ac:chgData name="Michele Rocco" userId="b98ebe7a-7641-4b10-bb82-27245654a50a" providerId="ADAL" clId="{05A8CA33-8AB0-4B87-A00A-3A9C909B6976}" dt="2024-01-23T17:37:10.091" v="1134" actId="1076"/>
          <ac:spMkLst>
            <pc:docMk/>
            <pc:sldMk cId="938758504" sldId="328"/>
            <ac:spMk id="35" creationId="{2ECF63C3-BC97-1D55-3803-1B0E05F5B46D}"/>
          </ac:spMkLst>
        </pc:spChg>
        <pc:spChg chg="add mod">
          <ac:chgData name="Michele Rocco" userId="b98ebe7a-7641-4b10-bb82-27245654a50a" providerId="ADAL" clId="{05A8CA33-8AB0-4B87-A00A-3A9C909B6976}" dt="2024-01-23T17:36:35.203" v="1115" actId="208"/>
          <ac:spMkLst>
            <pc:docMk/>
            <pc:sldMk cId="938758504" sldId="328"/>
            <ac:spMk id="36" creationId="{09533E72-A152-C819-76D9-47ACD68BFC31}"/>
          </ac:spMkLst>
        </pc:spChg>
        <pc:spChg chg="add del mod">
          <ac:chgData name="Michele Rocco" userId="b98ebe7a-7641-4b10-bb82-27245654a50a" providerId="ADAL" clId="{05A8CA33-8AB0-4B87-A00A-3A9C909B6976}" dt="2024-01-23T17:40:00.174" v="1193" actId="478"/>
          <ac:spMkLst>
            <pc:docMk/>
            <pc:sldMk cId="938758504" sldId="328"/>
            <ac:spMk id="37" creationId="{914E3CF3-7C84-41E8-9F66-3996E14D8D50}"/>
          </ac:spMkLst>
        </pc:spChg>
        <pc:spChg chg="add mod">
          <ac:chgData name="Michele Rocco" userId="b98ebe7a-7641-4b10-bb82-27245654a50a" providerId="ADAL" clId="{05A8CA33-8AB0-4B87-A00A-3A9C909B6976}" dt="2024-01-23T17:39:56.522" v="1192" actId="1076"/>
          <ac:spMkLst>
            <pc:docMk/>
            <pc:sldMk cId="938758504" sldId="328"/>
            <ac:spMk id="38" creationId="{475E9FF4-1397-C65B-28D4-60DD1AEFD51A}"/>
          </ac:spMkLst>
        </pc:spChg>
        <pc:spChg chg="add mod">
          <ac:chgData name="Michele Rocco" userId="b98ebe7a-7641-4b10-bb82-27245654a50a" providerId="ADAL" clId="{05A8CA33-8AB0-4B87-A00A-3A9C909B6976}" dt="2024-01-23T17:40:15.501" v="1214" actId="1076"/>
          <ac:spMkLst>
            <pc:docMk/>
            <pc:sldMk cId="938758504" sldId="328"/>
            <ac:spMk id="39" creationId="{3335312D-DD6F-1004-7FCD-39948A7A2251}"/>
          </ac:spMkLst>
        </pc:spChg>
        <pc:picChg chg="add mod">
          <ac:chgData name="Michele Rocco" userId="b98ebe7a-7641-4b10-bb82-27245654a50a" providerId="ADAL" clId="{05A8CA33-8AB0-4B87-A00A-3A9C909B6976}" dt="2024-01-23T17:30:19.257" v="1056" actId="1076"/>
          <ac:picMkLst>
            <pc:docMk/>
            <pc:sldMk cId="938758504" sldId="328"/>
            <ac:picMk id="7" creationId="{C63B432D-1618-47F9-6190-D22562396391}"/>
          </ac:picMkLst>
        </pc:picChg>
        <pc:cxnChg chg="add del mod">
          <ac:chgData name="Michele Rocco" userId="b98ebe7a-7641-4b10-bb82-27245654a50a" providerId="ADAL" clId="{05A8CA33-8AB0-4B87-A00A-3A9C909B6976}" dt="2024-01-23T17:31:38.489" v="1063" actId="478"/>
          <ac:cxnSpMkLst>
            <pc:docMk/>
            <pc:sldMk cId="938758504" sldId="328"/>
            <ac:cxnSpMk id="11" creationId="{59485E3F-D021-019E-E4D8-78B6A0BCF289}"/>
          </ac:cxnSpMkLst>
        </pc:cxnChg>
        <pc:cxnChg chg="add del mod">
          <ac:chgData name="Michele Rocco" userId="b98ebe7a-7641-4b10-bb82-27245654a50a" providerId="ADAL" clId="{05A8CA33-8AB0-4B87-A00A-3A9C909B6976}" dt="2024-01-23T17:36:07.282" v="1111" actId="478"/>
          <ac:cxnSpMkLst>
            <pc:docMk/>
            <pc:sldMk cId="938758504" sldId="328"/>
            <ac:cxnSpMk id="13" creationId="{552B8F3C-B701-2323-709B-E22A76A1B737}"/>
          </ac:cxnSpMkLst>
        </pc:cxnChg>
        <pc:cxnChg chg="add del mod">
          <ac:chgData name="Michele Rocco" userId="b98ebe7a-7641-4b10-bb82-27245654a50a" providerId="ADAL" clId="{05A8CA33-8AB0-4B87-A00A-3A9C909B6976}" dt="2024-01-23T17:35:26.357" v="1104" actId="478"/>
          <ac:cxnSpMkLst>
            <pc:docMk/>
            <pc:sldMk cId="938758504" sldId="328"/>
            <ac:cxnSpMk id="16" creationId="{C81CE0AA-2871-0C98-A9CB-82E72ADF7625}"/>
          </ac:cxnSpMkLst>
        </pc:cxnChg>
      </pc:sldChg>
      <pc:sldChg chg="addSp delSp modSp new mod modNotesTx">
        <pc:chgData name="Michele Rocco" userId="b98ebe7a-7641-4b10-bb82-27245654a50a" providerId="ADAL" clId="{05A8CA33-8AB0-4B87-A00A-3A9C909B6976}" dt="2024-01-24T09:20:27.618" v="10653" actId="20577"/>
        <pc:sldMkLst>
          <pc:docMk/>
          <pc:sldMk cId="2267554649" sldId="329"/>
        </pc:sldMkLst>
        <pc:spChg chg="mod">
          <ac:chgData name="Michele Rocco" userId="b98ebe7a-7641-4b10-bb82-27245654a50a" providerId="ADAL" clId="{05A8CA33-8AB0-4B87-A00A-3A9C909B6976}" dt="2024-01-23T17:20:28.268" v="877" actId="20577"/>
          <ac:spMkLst>
            <pc:docMk/>
            <pc:sldMk cId="2267554649" sldId="329"/>
            <ac:spMk id="2" creationId="{254375E0-7A99-3D11-79B2-1C409CF07FE9}"/>
          </ac:spMkLst>
        </pc:spChg>
        <pc:spChg chg="mod">
          <ac:chgData name="Michele Rocco" userId="b98ebe7a-7641-4b10-bb82-27245654a50a" providerId="ADAL" clId="{05A8CA33-8AB0-4B87-A00A-3A9C909B6976}" dt="2024-01-23T17:14:14.479" v="626" actId="20577"/>
          <ac:spMkLst>
            <pc:docMk/>
            <pc:sldMk cId="2267554649" sldId="329"/>
            <ac:spMk id="3" creationId="{13857E85-04F9-FB6C-53D3-ACDF17313AD7}"/>
          </ac:spMkLst>
        </pc:spChg>
        <pc:spChg chg="add mod">
          <ac:chgData name="Michele Rocco" userId="b98ebe7a-7641-4b10-bb82-27245654a50a" providerId="ADAL" clId="{05A8CA33-8AB0-4B87-A00A-3A9C909B6976}" dt="2024-01-23T19:15:39.984" v="1445" actId="1076"/>
          <ac:spMkLst>
            <pc:docMk/>
            <pc:sldMk cId="2267554649" sldId="329"/>
            <ac:spMk id="27" creationId="{0350584C-1E6A-2752-2520-8B12F4EB8893}"/>
          </ac:spMkLst>
        </pc:spChg>
        <pc:grpChg chg="add del mod">
          <ac:chgData name="Michele Rocco" userId="b98ebe7a-7641-4b10-bb82-27245654a50a" providerId="ADAL" clId="{05A8CA33-8AB0-4B87-A00A-3A9C909B6976}" dt="2024-01-23T18:49:25.514" v="1264" actId="478"/>
          <ac:grpSpMkLst>
            <pc:docMk/>
            <pc:sldMk cId="2267554649" sldId="329"/>
            <ac:grpSpMk id="7" creationId="{B332A108-FEA7-1C5D-3953-DD37146B2373}"/>
          </ac:grpSpMkLst>
        </pc:grpChg>
        <pc:grpChg chg="add del mod">
          <ac:chgData name="Michele Rocco" userId="b98ebe7a-7641-4b10-bb82-27245654a50a" providerId="ADAL" clId="{05A8CA33-8AB0-4B87-A00A-3A9C909B6976}" dt="2024-01-23T18:49:25.514" v="1264" actId="478"/>
          <ac:grpSpMkLst>
            <pc:docMk/>
            <pc:sldMk cId="2267554649" sldId="329"/>
            <ac:grpSpMk id="19" creationId="{31EE52FA-5C03-01AF-A6EE-E90010E108FF}"/>
          </ac:grpSpMkLst>
        </pc:grpChg>
        <pc:grpChg chg="add del mod">
          <ac:chgData name="Michele Rocco" userId="b98ebe7a-7641-4b10-bb82-27245654a50a" providerId="ADAL" clId="{05A8CA33-8AB0-4B87-A00A-3A9C909B6976}" dt="2024-01-23T18:49:25.514" v="1264" actId="478"/>
          <ac:grpSpMkLst>
            <pc:docMk/>
            <pc:sldMk cId="2267554649" sldId="329"/>
            <ac:grpSpMk id="23" creationId="{FB88212F-942F-AD93-1CE9-B766BE1650AE}"/>
          </ac:grpSpMkLst>
        </pc:grpChg>
        <pc:picChg chg="add del mod">
          <ac:chgData name="Michele Rocco" userId="b98ebe7a-7641-4b10-bb82-27245654a50a" providerId="ADAL" clId="{05A8CA33-8AB0-4B87-A00A-3A9C909B6976}" dt="2024-01-23T19:14:57.718" v="1434" actId="478"/>
          <ac:picMkLst>
            <pc:docMk/>
            <pc:sldMk cId="2267554649" sldId="329"/>
            <ac:picMk id="6" creationId="{080C6470-993A-5760-B983-8CBFB223CDB1}"/>
          </ac:picMkLst>
        </pc:picChg>
        <pc:picChg chg="add mod">
          <ac:chgData name="Michele Rocco" userId="b98ebe7a-7641-4b10-bb82-27245654a50a" providerId="ADAL" clId="{05A8CA33-8AB0-4B87-A00A-3A9C909B6976}" dt="2024-01-23T19:15:24.049" v="1441" actId="1076"/>
          <ac:picMkLst>
            <pc:docMk/>
            <pc:sldMk cId="2267554649" sldId="329"/>
            <ac:picMk id="26" creationId="{8B6AB3E0-9C39-066A-E257-8E6417B458E6}"/>
          </ac:picMkLst>
        </pc:picChg>
        <pc:picChg chg="add mod">
          <ac:chgData name="Michele Rocco" userId="b98ebe7a-7641-4b10-bb82-27245654a50a" providerId="ADAL" clId="{05A8CA33-8AB0-4B87-A00A-3A9C909B6976}" dt="2024-01-23T19:15:34.571" v="1444" actId="1076"/>
          <ac:picMkLst>
            <pc:docMk/>
            <pc:sldMk cId="2267554649" sldId="329"/>
            <ac:picMk id="29" creationId="{63C91E9A-A05A-5A9C-A44D-A86BFBE700BE}"/>
          </ac:picMkLst>
        </pc:pic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8" creationId="{E09B894D-996C-0C38-5FAB-9747B2A2EF0D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9" creationId="{38877068-94E4-C5A9-5BA7-8FA26600B782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0" creationId="{B220B93F-3498-C377-9EBE-E66D59CFD6DC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1" creationId="{56BED9DB-1892-2474-E6D4-4F8CE34319E0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2" creationId="{916A4480-48AF-0FEF-3F17-9ECBF78943CC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3" creationId="{14291057-CDEF-9F63-3802-4572E6F84C86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4" creationId="{4944FAC8-74B0-C6D0-DAAA-09174C43B663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5" creationId="{9BF05305-4662-84A1-B3E6-9571F351FB89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6" creationId="{6922071E-FDC4-120E-DFF2-CE7218A48B5E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7" creationId="{05531333-9651-749A-AB51-C1531F153208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8" creationId="{FE81BC2C-A795-5273-7914-7AF5C7B4417C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20" creationId="{7F9581A2-23E0-4A63-E31E-91A9F19FB78F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21" creationId="{85E7F1D4-0920-C642-59A7-9BA58AEAEC7D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22" creationId="{519F45D1-12EF-928F-5722-CF4733D38FF9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24" creationId="{B6B29A10-34F2-C4DA-EB39-81FB847F6C58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25" creationId="{32129BDE-2661-EBEB-406D-4ECC40AA4A2B}"/>
          </ac:inkMkLst>
        </pc:inkChg>
      </pc:sldChg>
      <pc:sldChg chg="addSp delSp modSp new mod modNotesTx">
        <pc:chgData name="Michele Rocco" userId="b98ebe7a-7641-4b10-bb82-27245654a50a" providerId="ADAL" clId="{05A8CA33-8AB0-4B87-A00A-3A9C909B6976}" dt="2024-01-24T09:00:25.630" v="10401" actId="20577"/>
        <pc:sldMkLst>
          <pc:docMk/>
          <pc:sldMk cId="1820970117" sldId="330"/>
        </pc:sldMkLst>
        <pc:spChg chg="mod">
          <ac:chgData name="Michele Rocco" userId="b98ebe7a-7641-4b10-bb82-27245654a50a" providerId="ADAL" clId="{05A8CA33-8AB0-4B87-A00A-3A9C909B6976}" dt="2024-01-24T09:00:25.630" v="10401" actId="20577"/>
          <ac:spMkLst>
            <pc:docMk/>
            <pc:sldMk cId="1820970117" sldId="330"/>
            <ac:spMk id="2" creationId="{1314C611-93D8-48B2-50E8-0B42B8DEEC67}"/>
          </ac:spMkLst>
        </pc:spChg>
        <pc:spChg chg="mod">
          <ac:chgData name="Michele Rocco" userId="b98ebe7a-7641-4b10-bb82-27245654a50a" providerId="ADAL" clId="{05A8CA33-8AB0-4B87-A00A-3A9C909B6976}" dt="2024-01-23T17:22:51.576" v="921"/>
          <ac:spMkLst>
            <pc:docMk/>
            <pc:sldMk cId="1820970117" sldId="330"/>
            <ac:spMk id="3" creationId="{CC3584A6-638E-24D3-AAA0-D50323811B03}"/>
          </ac:spMkLst>
        </pc:spChg>
        <pc:grpChg chg="add del mod">
          <ac:chgData name="Michele Rocco" userId="b98ebe7a-7641-4b10-bb82-27245654a50a" providerId="ADAL" clId="{05A8CA33-8AB0-4B87-A00A-3A9C909B6976}" dt="2024-01-24T07:26:38.388" v="1468" actId="478"/>
          <ac:grpSpMkLst>
            <pc:docMk/>
            <pc:sldMk cId="1820970117" sldId="330"/>
            <ac:grpSpMk id="7" creationId="{0214A84C-6F23-2B59-3E3E-633BD396DE7B}"/>
          </ac:grpSpMkLst>
        </pc:grpChg>
        <pc:grpChg chg="add del mod">
          <ac:chgData name="Michele Rocco" userId="b98ebe7a-7641-4b10-bb82-27245654a50a" providerId="ADAL" clId="{05A8CA33-8AB0-4B87-A00A-3A9C909B6976}" dt="2024-01-24T07:26:38.388" v="1468" actId="478"/>
          <ac:grpSpMkLst>
            <pc:docMk/>
            <pc:sldMk cId="1820970117" sldId="330"/>
            <ac:grpSpMk id="12" creationId="{0562198C-3D9C-0BB4-D968-C90F2DEFF3CB}"/>
          </ac:grpSpMkLst>
        </pc:grpChg>
        <pc:grpChg chg="add del mod">
          <ac:chgData name="Michele Rocco" userId="b98ebe7a-7641-4b10-bb82-27245654a50a" providerId="ADAL" clId="{05A8CA33-8AB0-4B87-A00A-3A9C909B6976}" dt="2024-01-24T07:26:38.388" v="1468" actId="478"/>
          <ac:grpSpMkLst>
            <pc:docMk/>
            <pc:sldMk cId="1820970117" sldId="330"/>
            <ac:grpSpMk id="43" creationId="{7FDC1CCB-0A71-FE83-FB9C-70D4786B13E5}"/>
          </ac:grpSpMkLst>
        </pc:grpChg>
        <pc:grpChg chg="add del mod">
          <ac:chgData name="Michele Rocco" userId="b98ebe7a-7641-4b10-bb82-27245654a50a" providerId="ADAL" clId="{05A8CA33-8AB0-4B87-A00A-3A9C909B6976}" dt="2024-01-24T07:26:38.388" v="1468" actId="478"/>
          <ac:grpSpMkLst>
            <pc:docMk/>
            <pc:sldMk cId="1820970117" sldId="330"/>
            <ac:grpSpMk id="58" creationId="{43A8658E-355B-018B-0F5D-D6786E314ECC}"/>
          </ac:grpSpMkLst>
        </pc:grpChg>
        <pc:picChg chg="add mod">
          <ac:chgData name="Michele Rocco" userId="b98ebe7a-7641-4b10-bb82-27245654a50a" providerId="ADAL" clId="{05A8CA33-8AB0-4B87-A00A-3A9C909B6976}" dt="2024-01-24T08:47:41.309" v="9799" actId="1076"/>
          <ac:picMkLst>
            <pc:docMk/>
            <pc:sldMk cId="1820970117" sldId="330"/>
            <ac:picMk id="85" creationId="{DEDFA6ED-1DEB-E888-D167-4ECF791C349D}"/>
          </ac:picMkLst>
        </pc:picChg>
        <pc:picChg chg="add mod">
          <ac:chgData name="Michele Rocco" userId="b98ebe7a-7641-4b10-bb82-27245654a50a" providerId="ADAL" clId="{05A8CA33-8AB0-4B87-A00A-3A9C909B6976}" dt="2024-01-24T07:32:46.837" v="1498" actId="1076"/>
          <ac:picMkLst>
            <pc:docMk/>
            <pc:sldMk cId="1820970117" sldId="330"/>
            <ac:picMk id="87" creationId="{0996DBAA-C6DA-FD70-4362-449903246DF7}"/>
          </ac:picMkLst>
        </pc:pic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6" creationId="{7456959F-E380-4C4E-4B8C-ED76A5DFFE2F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8" creationId="{8263856C-993A-9F43-D910-1C572DC352D9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9" creationId="{72874EAA-D65B-C591-1A1E-405D19159097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0" creationId="{30620A0D-9B28-4311-44C5-202FBD0287DC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1" creationId="{5AB9948F-9746-648B-BAA9-5BC467AF9C1F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3" creationId="{6C21103F-669D-8E50-1D23-46AA67C83AAC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4" creationId="{D4C22653-DFAB-1828-111D-68B2F8D44F5A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5" creationId="{C7C6AFA3-343D-5D30-54FD-968835FCF82F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6" creationId="{B7036DBC-A659-9FA0-B7B5-DD398889F0E2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7" creationId="{873BC427-5532-8D8B-B711-B0CF0E0C7E28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8" creationId="{A5BA32F9-A812-600A-F086-F89EFEE1804D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9" creationId="{B994F8CE-555F-9724-C1E9-162C5A3F9CC2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20" creationId="{76AD46EC-12CF-FD3A-3BD0-E693CCE249F4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21" creationId="{897B8724-C63B-F394-32DD-8A0BF94789A1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22" creationId="{D37DD2D3-8F48-31E9-B217-BC81D4E09F45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3" creationId="{48053958-4A0E-DA02-B953-4DA204803E04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4" creationId="{5F398E0F-3C04-232A-ACE0-BDEB8D5A5B8A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5" creationId="{BFC1A007-734C-D7A0-0D8C-8A4A07DD1248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6" creationId="{4CBC96C7-FC3D-461E-D313-4559810CD02C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7" creationId="{0C4B8BFB-CB56-68DC-3829-CC3E871FA243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8" creationId="{27B09DE6-42A9-15E2-6F51-D84D662A0E32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9" creationId="{BBAD480F-4370-18C3-A991-34749A9C90A5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0" creationId="{544B50AD-78BA-C5E7-6786-F830B9CDF693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1" creationId="{0F35A475-BCC0-1C82-0F21-5A88FCBD215E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2" creationId="{2953D196-C6A2-70F5-CC64-9C3C27525279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3" creationId="{7844B3C6-FB5F-ADB7-B353-39460B79CB8C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4" creationId="{98A9010B-1ACA-BA66-89FD-CD91A57C67FB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5" creationId="{78FE3209-6477-609A-E7F8-DA5E25C9133C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6" creationId="{D7A317EF-5CCA-BBB1-21B1-890DC0B6DA23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7" creationId="{165BD9E4-A613-A88A-935D-1287CA94A4F0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8" creationId="{DF023F9D-3C38-9BDB-2BD5-6AE839F95046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9" creationId="{C154AF3D-81A5-9B0C-BB8A-C328FDC85A05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40" creationId="{5D6CEF6B-B305-B9E2-1A58-D578C0023E71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41" creationId="{81402854-5708-F948-259F-3848AEC174C1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42" creationId="{C7B2F0CA-E637-6F52-CE38-AE406F8DC19F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4" creationId="{406D5376-0B4A-E2B2-0002-55F660073B10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5" creationId="{4BCA0FE0-4133-DAB6-8172-4AC22C4200BF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6" creationId="{4AA8DBF9-13A0-1E9B-0319-14E49054F0D5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7" creationId="{5FADA365-80E3-FB59-09CA-D6762A51D625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8" creationId="{37EB8811-D1CD-DA52-FDF4-4B647D7ED933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9" creationId="{F063B735-D5C5-EC29-BDCA-DB415C917E59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0" creationId="{982ABBA0-8C42-AD0C-FF0B-4538DAE4491B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1" creationId="{03B10262-B955-0D16-1491-AD00B7EF4B5B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2" creationId="{8F04764F-E5E9-9CE0-7772-2C6595379462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3" creationId="{208028F6-4E51-C7F0-C6C3-C08929EDA8F4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4" creationId="{B10E3023-EF85-7F6F-5A60-9AFB49AD7CA6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5" creationId="{41691AED-56E7-3C6A-0331-A3639999F23C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56" creationId="{7C0D0D58-9FB1-7A97-5A91-7D140866A224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57" creationId="{CD6883B0-1466-208D-F4B5-8A67655FA452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9" creationId="{E98656CD-B4A1-BD7E-BB4D-BC49361A3E8E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0" creationId="{F429CF93-D6F9-438B-C79E-CB6326E6C9EC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1" creationId="{A8957F6D-6C06-BBE0-8AA5-E6FB424658C8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2" creationId="{E75C4710-5148-1207-D72E-DE0777D2EF48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3" creationId="{51A8E93C-1698-30BE-2BB4-43D456763AC2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4" creationId="{DD81867B-AF63-BBAA-8B5B-DB726505F661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5" creationId="{ED0834DA-9CDE-A352-7CE2-8D5989D60A3E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6" creationId="{336B7F27-C7F6-D258-22FF-AB350D47F367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7" creationId="{88CE3D3D-7FE7-4300-542F-BA603C84AF96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8" creationId="{F3E00804-EC3F-598E-4066-93EEA86FE888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9" creationId="{DD0A0C59-161F-AEDB-F2B2-053447DBAB49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0" creationId="{4505FF45-44CB-A369-00E7-445938AB90DD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1" creationId="{61BC4A4D-7A99-E2CD-A02D-ECD3EDFBDDC7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2" creationId="{AD2F5041-B8CB-9221-D5C4-632F4C2E4F01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3" creationId="{F30DB2F1-70E9-58F7-1453-8BD33D46188B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4" creationId="{D850674E-2F5F-AB18-98C0-DFEF8FBD2E06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5" creationId="{2E356A71-F055-595F-C9F8-7E967953ABDC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6" creationId="{3CA2915E-1029-3056-7148-5476BD4184B0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7" creationId="{DDA4F934-7E0E-AE24-6DB5-437FD7543E4D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8" creationId="{411155A3-D44C-B647-129C-A7256FE1BFB5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79" creationId="{5CDDB63F-B93D-9681-4701-C437F6BC6C2A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80" creationId="{B544EB51-3E61-38BB-A8BE-782ADF50F186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81" creationId="{718CE26F-F0DF-A765-5DB3-6FFF61A4B89E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82" creationId="{BE77742C-7254-FC69-9A49-EBB763673B48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83" creationId="{30D099D6-502F-64D4-4C79-C886BE99E572}"/>
          </ac:inkMkLst>
        </pc:inkChg>
      </pc:sldChg>
      <pc:sldChg chg="addSp delSp modSp new mod modNotesTx">
        <pc:chgData name="Michele Rocco" userId="b98ebe7a-7641-4b10-bb82-27245654a50a" providerId="ADAL" clId="{05A8CA33-8AB0-4B87-A00A-3A9C909B6976}" dt="2024-01-24T08:44:24.924" v="9519" actId="20577"/>
        <pc:sldMkLst>
          <pc:docMk/>
          <pc:sldMk cId="2719045758" sldId="331"/>
        </pc:sldMkLst>
        <pc:spChg chg="mod">
          <ac:chgData name="Michele Rocco" userId="b98ebe7a-7641-4b10-bb82-27245654a50a" providerId="ADAL" clId="{05A8CA33-8AB0-4B87-A00A-3A9C909B6976}" dt="2024-01-24T07:33:07.287" v="1499" actId="14100"/>
          <ac:spMkLst>
            <pc:docMk/>
            <pc:sldMk cId="2719045758" sldId="331"/>
            <ac:spMk id="2" creationId="{2DE7B6B3-A861-C550-F60E-2B1287FB6E44}"/>
          </ac:spMkLst>
        </pc:spChg>
        <pc:spChg chg="mod">
          <ac:chgData name="Michele Rocco" userId="b98ebe7a-7641-4b10-bb82-27245654a50a" providerId="ADAL" clId="{05A8CA33-8AB0-4B87-A00A-3A9C909B6976}" dt="2024-01-23T18:55:05.820" v="1376" actId="20577"/>
          <ac:spMkLst>
            <pc:docMk/>
            <pc:sldMk cId="2719045758" sldId="331"/>
            <ac:spMk id="3" creationId="{CE529870-F6CB-3F52-E0B0-F76CBD969F21}"/>
          </ac:spMkLst>
        </pc:spChg>
        <pc:picChg chg="add del mod">
          <ac:chgData name="Michele Rocco" userId="b98ebe7a-7641-4b10-bb82-27245654a50a" providerId="ADAL" clId="{05A8CA33-8AB0-4B87-A00A-3A9C909B6976}" dt="2024-01-23T19:12:18.813" v="1422" actId="478"/>
          <ac:picMkLst>
            <pc:docMk/>
            <pc:sldMk cId="2719045758" sldId="331"/>
            <ac:picMk id="7" creationId="{D6CACD37-CB83-6196-08CC-7D5722A436CB}"/>
          </ac:picMkLst>
        </pc:picChg>
        <pc:picChg chg="add mod">
          <ac:chgData name="Michele Rocco" userId="b98ebe7a-7641-4b10-bb82-27245654a50a" providerId="ADAL" clId="{05A8CA33-8AB0-4B87-A00A-3A9C909B6976}" dt="2024-01-23T19:12:08.622" v="1420"/>
          <ac:picMkLst>
            <pc:docMk/>
            <pc:sldMk cId="2719045758" sldId="331"/>
            <ac:picMk id="9" creationId="{7DD1AC8A-BE84-A182-365F-AA710E47D1C6}"/>
          </ac:picMkLst>
        </pc:picChg>
        <pc:picChg chg="add mod">
          <ac:chgData name="Michele Rocco" userId="b98ebe7a-7641-4b10-bb82-27245654a50a" providerId="ADAL" clId="{05A8CA33-8AB0-4B87-A00A-3A9C909B6976}" dt="2024-01-23T19:13:57.763" v="1430" actId="14826"/>
          <ac:picMkLst>
            <pc:docMk/>
            <pc:sldMk cId="2719045758" sldId="331"/>
            <ac:picMk id="11" creationId="{D38B27AD-2793-547A-E6E5-7CAC6356DC35}"/>
          </ac:picMkLst>
        </pc:picChg>
      </pc:sldChg>
      <pc:sldMasterChg chg="modSldLayout">
        <pc:chgData name="Michele Rocco" userId="b98ebe7a-7641-4b10-bb82-27245654a50a" providerId="ADAL" clId="{05A8CA33-8AB0-4B87-A00A-3A9C909B6976}" dt="2024-01-23T20:00:00.676" v="1466" actId="14826"/>
        <pc:sldMasterMkLst>
          <pc:docMk/>
          <pc:sldMasterMk cId="0" sldId="2147483715"/>
        </pc:sldMasterMkLst>
        <pc:sldLayoutChg chg="modSp mod">
          <pc:chgData name="Michele Rocco" userId="b98ebe7a-7641-4b10-bb82-27245654a50a" providerId="ADAL" clId="{05A8CA33-8AB0-4B87-A00A-3A9C909B6976}" dt="2024-01-23T20:00:00.676" v="1466" actId="14826"/>
          <pc:sldLayoutMkLst>
            <pc:docMk/>
            <pc:sldMasterMk cId="0" sldId="2147483715"/>
            <pc:sldLayoutMk cId="197727015" sldId="2147483753"/>
          </pc:sldLayoutMkLst>
          <pc:spChg chg="mod">
            <ac:chgData name="Michele Rocco" userId="b98ebe7a-7641-4b10-bb82-27245654a50a" providerId="ADAL" clId="{05A8CA33-8AB0-4B87-A00A-3A9C909B6976}" dt="2024-01-23T20:00:00.382" v="1465" actId="207"/>
            <ac:spMkLst>
              <pc:docMk/>
              <pc:sldMasterMk cId="0" sldId="2147483715"/>
              <pc:sldLayoutMk cId="197727015" sldId="2147483753"/>
              <ac:spMk id="25" creationId="{E19F9FB8-5294-E57F-CBFE-D1A6B4048FC7}"/>
            </ac:spMkLst>
          </pc:spChg>
          <pc:spChg chg="mod">
            <ac:chgData name="Michele Rocco" userId="b98ebe7a-7641-4b10-bb82-27245654a50a" providerId="ADAL" clId="{05A8CA33-8AB0-4B87-A00A-3A9C909B6976}" dt="2024-01-23T20:00:00.073" v="1464" actId="207"/>
            <ac:spMkLst>
              <pc:docMk/>
              <pc:sldMasterMk cId="0" sldId="2147483715"/>
              <pc:sldLayoutMk cId="197727015" sldId="2147483753"/>
              <ac:spMk id="27" creationId="{F5CEC03E-16AB-863B-452B-4B4C8B54FE14}"/>
            </ac:spMkLst>
          </pc:spChg>
          <pc:picChg chg="mod">
            <ac:chgData name="Michele Rocco" userId="b98ebe7a-7641-4b10-bb82-27245654a50a" providerId="ADAL" clId="{05A8CA33-8AB0-4B87-A00A-3A9C909B6976}" dt="2024-01-23T20:00:00.676" v="1466" actId="14826"/>
            <ac:picMkLst>
              <pc:docMk/>
              <pc:sldMasterMk cId="0" sldId="2147483715"/>
              <pc:sldLayoutMk cId="197727015" sldId="2147483753"/>
              <ac:picMk id="24" creationId="{DF98B2F7-BEAF-17E3-0C2E-7C9AB8F8F641}"/>
            </ac:picMkLst>
          </pc:picChg>
        </pc:sldLayoutChg>
      </pc:sldMasterChg>
    </pc:docChg>
  </pc:docChgLst>
  <pc:docChgLst>
    <pc:chgData name="Luca Ricci" userId="S::10451631@polimi.it::ee5f09d5-0832-4e68-94c9-d8bfd2ad04f0" providerId="AD" clId="Web-{06B5F6D7-F6D5-A4D6-60C7-D2A963F38002}"/>
    <pc:docChg chg="modSld">
      <pc:chgData name="Luca Ricci" userId="S::10451631@polimi.it::ee5f09d5-0832-4e68-94c9-d8bfd2ad04f0" providerId="AD" clId="Web-{06B5F6D7-F6D5-A4D6-60C7-D2A963F38002}" dt="2024-01-24T10:26:41.869" v="2"/>
      <pc:docMkLst>
        <pc:docMk/>
      </pc:docMkLst>
      <pc:sldChg chg="addSp delSp modSp">
        <pc:chgData name="Luca Ricci" userId="S::10451631@polimi.it::ee5f09d5-0832-4e68-94c9-d8bfd2ad04f0" providerId="AD" clId="Web-{06B5F6D7-F6D5-A4D6-60C7-D2A963F38002}" dt="2024-01-24T10:26:41.869" v="2"/>
        <pc:sldMkLst>
          <pc:docMk/>
          <pc:sldMk cId="4109715435" sldId="313"/>
        </pc:sldMkLst>
        <pc:picChg chg="add del mod">
          <ac:chgData name="Luca Ricci" userId="S::10451631@polimi.it::ee5f09d5-0832-4e68-94c9-d8bfd2ad04f0" providerId="AD" clId="Web-{06B5F6D7-F6D5-A4D6-60C7-D2A963F38002}" dt="2024-01-24T10:26:41.869" v="2"/>
          <ac:picMkLst>
            <pc:docMk/>
            <pc:sldMk cId="4109715435" sldId="313"/>
            <ac:picMk id="6" creationId="{EB92A031-3D59-B665-2EA9-EC72CFBD5D90}"/>
          </ac:picMkLst>
        </pc:picChg>
      </pc:sldChg>
    </pc:docChg>
  </pc:docChgLst>
  <pc:docChgLst>
    <pc:chgData name="Luca Ricci" userId="ee5f09d5-0832-4e68-94c9-d8bfd2ad04f0" providerId="ADAL" clId="{D501E5E2-574F-6542-B665-A334471D5578}"/>
    <pc:docChg chg="undo redo custSel addSld delSld modSld sldOrd addMainMaster delMainMaster modMainMaster">
      <pc:chgData name="Luca Ricci" userId="ee5f09d5-0832-4e68-94c9-d8bfd2ad04f0" providerId="ADAL" clId="{D501E5E2-574F-6542-B665-A334471D5578}" dt="2023-12-18T18:21:18.871" v="11144" actId="729"/>
      <pc:docMkLst>
        <pc:docMk/>
      </pc:docMkLst>
      <pc:sldChg chg="addSp modSp">
        <pc:chgData name="Luca Ricci" userId="ee5f09d5-0832-4e68-94c9-d8bfd2ad04f0" providerId="ADAL" clId="{D501E5E2-574F-6542-B665-A334471D5578}" dt="2023-12-18T09:06:53.402" v="653"/>
        <pc:sldMkLst>
          <pc:docMk/>
          <pc:sldMk cId="895135860" sldId="257"/>
        </pc:sldMkLst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895135860" sldId="257"/>
            <ac:spMk id="2" creationId="{D2564175-C9EF-3B93-134E-A687C1E19C6C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895135860" sldId="257"/>
            <ac:spMk id="3" creationId="{C4C29F39-0E99-0D32-4784-3D6A3174A854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895135860" sldId="257"/>
            <ac:spMk id="4" creationId="{FB609C30-E72C-1417-8E45-3611EB176DFD}"/>
          </ac:spMkLst>
        </pc:spChg>
      </pc:sldChg>
      <pc:sldChg chg="addSp delSp modSp mod modClrScheme chgLayout">
        <pc:chgData name="Luca Ricci" userId="ee5f09d5-0832-4e68-94c9-d8bfd2ad04f0" providerId="ADAL" clId="{D501E5E2-574F-6542-B665-A334471D5578}" dt="2023-12-18T09:06:53.402" v="653"/>
        <pc:sldMkLst>
          <pc:docMk/>
          <pc:sldMk cId="3601296254" sldId="258"/>
        </pc:sldMkLst>
        <pc:spChg chg="del mod ord">
          <ac:chgData name="Luca Ricci" userId="ee5f09d5-0832-4e68-94c9-d8bfd2ad04f0" providerId="ADAL" clId="{D501E5E2-574F-6542-B665-A334471D5578}" dt="2023-12-18T08:20:01.623" v="210" actId="700"/>
          <ac:spMkLst>
            <pc:docMk/>
            <pc:sldMk cId="3601296254" sldId="258"/>
            <ac:spMk id="2" creationId="{CCB29A08-B983-492B-BF60-186DB105E3DB}"/>
          </ac:spMkLst>
        </pc:spChg>
        <pc:spChg chg="add mod ord">
          <ac:chgData name="Luca Ricci" userId="ee5f09d5-0832-4e68-94c9-d8bfd2ad04f0" providerId="ADAL" clId="{D501E5E2-574F-6542-B665-A334471D5578}" dt="2023-12-18T09:06:32.953" v="652" actId="20577"/>
          <ac:spMkLst>
            <pc:docMk/>
            <pc:sldMk cId="3601296254" sldId="258"/>
            <ac:spMk id="3" creationId="{90D17616-C6F6-5E72-B3B8-B8737DA3DB23}"/>
          </ac:spMkLst>
        </pc:spChg>
        <pc:spChg chg="add mod ord">
          <ac:chgData name="Luca Ricci" userId="ee5f09d5-0832-4e68-94c9-d8bfd2ad04f0" providerId="ADAL" clId="{D501E5E2-574F-6542-B665-A334471D5578}" dt="2023-12-18T09:06:11.757" v="623" actId="5793"/>
          <ac:spMkLst>
            <pc:docMk/>
            <pc:sldMk cId="3601296254" sldId="258"/>
            <ac:spMk id="4" creationId="{1AC29BDC-7CB8-266E-07CF-D9D5D9169AC3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3601296254" sldId="258"/>
            <ac:spMk id="5" creationId="{7320F8E3-EA9B-AD24-77A4-B9D43D6203B6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3601296254" sldId="258"/>
            <ac:spMk id="6" creationId="{7FB64869-3AB3-60D0-1493-68013A210278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3601296254" sldId="258"/>
            <ac:spMk id="7" creationId="{2C1B45AB-9D9F-27AF-2E73-E37392412CCF}"/>
          </ac:spMkLst>
        </pc:spChg>
      </pc:sldChg>
      <pc:sldChg chg="addSp delSp modSp mod modClrScheme chgLayout">
        <pc:chgData name="Luca Ricci" userId="ee5f09d5-0832-4e68-94c9-d8bfd2ad04f0" providerId="ADAL" clId="{D501E5E2-574F-6542-B665-A334471D5578}" dt="2023-12-18T18:19:36.528" v="11142" actId="20577"/>
        <pc:sldMkLst>
          <pc:docMk/>
          <pc:sldMk cId="1625672892" sldId="259"/>
        </pc:sldMkLst>
        <pc:spChg chg="mod ord">
          <ac:chgData name="Luca Ricci" userId="ee5f09d5-0832-4e68-94c9-d8bfd2ad04f0" providerId="ADAL" clId="{D501E5E2-574F-6542-B665-A334471D5578}" dt="2023-12-18T09:28:40.383" v="807" actId="20577"/>
          <ac:spMkLst>
            <pc:docMk/>
            <pc:sldMk cId="1625672892" sldId="259"/>
            <ac:spMk id="2" creationId="{96B142A3-3E18-4302-85FC-39EF0216B791}"/>
          </ac:spMkLst>
        </pc:spChg>
        <pc:spChg chg="del mod">
          <ac:chgData name="Luca Ricci" userId="ee5f09d5-0832-4e68-94c9-d8bfd2ad04f0" providerId="ADAL" clId="{D501E5E2-574F-6542-B665-A334471D5578}" dt="2023-12-18T09:27:08.184" v="758" actId="700"/>
          <ac:spMkLst>
            <pc:docMk/>
            <pc:sldMk cId="1625672892" sldId="259"/>
            <ac:spMk id="3" creationId="{E0560B38-ED9A-4688-A544-CA41460ADE15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1625672892" sldId="259"/>
            <ac:spMk id="4" creationId="{AE04079E-5E0C-B09A-31EF-4BAC92C76053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1625672892" sldId="259"/>
            <ac:spMk id="5" creationId="{093F932A-91E0-B582-BF2F-5485DF901675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1625672892" sldId="259"/>
            <ac:spMk id="6" creationId="{635F2D69-9F04-B46D-3214-C329667F23F1}"/>
          </ac:spMkLst>
        </pc:spChg>
        <pc:spChg chg="add del mod ord">
          <ac:chgData name="Luca Ricci" userId="ee5f09d5-0832-4e68-94c9-d8bfd2ad04f0" providerId="ADAL" clId="{D501E5E2-574F-6542-B665-A334471D5578}" dt="2023-12-18T09:27:56.923" v="764" actId="931"/>
          <ac:spMkLst>
            <pc:docMk/>
            <pc:sldMk cId="1625672892" sldId="259"/>
            <ac:spMk id="9" creationId="{C34AE186-9A41-7F93-E4AD-C193DB0E2702}"/>
          </ac:spMkLst>
        </pc:spChg>
        <pc:spChg chg="add mod ord">
          <ac:chgData name="Luca Ricci" userId="ee5f09d5-0832-4e68-94c9-d8bfd2ad04f0" providerId="ADAL" clId="{D501E5E2-574F-6542-B665-A334471D5578}" dt="2023-12-18T18:19:36.528" v="11142" actId="20577"/>
          <ac:spMkLst>
            <pc:docMk/>
            <pc:sldMk cId="1625672892" sldId="259"/>
            <ac:spMk id="10" creationId="{5A82A501-62D7-BA88-FCEA-42DF25F31526}"/>
          </ac:spMkLst>
        </pc:spChg>
        <pc:spChg chg="add del mod">
          <ac:chgData name="Luca Ricci" userId="ee5f09d5-0832-4e68-94c9-d8bfd2ad04f0" providerId="ADAL" clId="{D501E5E2-574F-6542-B665-A334471D5578}" dt="2023-12-18T09:40:40.035" v="1273" actId="931"/>
          <ac:spMkLst>
            <pc:docMk/>
            <pc:sldMk cId="1625672892" sldId="259"/>
            <ac:spMk id="14" creationId="{8FD93D57-1B13-BBFE-3D74-53ED21EC04A7}"/>
          </ac:spMkLst>
        </pc:spChg>
        <pc:picChg chg="add del mod">
          <ac:chgData name="Luca Ricci" userId="ee5f09d5-0832-4e68-94c9-d8bfd2ad04f0" providerId="ADAL" clId="{D501E5E2-574F-6542-B665-A334471D5578}" dt="2023-12-18T09:27:38.474" v="762" actId="478"/>
          <ac:picMkLst>
            <pc:docMk/>
            <pc:sldMk cId="1625672892" sldId="259"/>
            <ac:picMk id="8" creationId="{DE5DFFEA-D991-CC39-97A3-95ED20465A48}"/>
          </ac:picMkLst>
        </pc:picChg>
        <pc:picChg chg="add del mod">
          <ac:chgData name="Luca Ricci" userId="ee5f09d5-0832-4e68-94c9-d8bfd2ad04f0" providerId="ADAL" clId="{D501E5E2-574F-6542-B665-A334471D5578}" dt="2023-12-18T09:40:30.671" v="1272" actId="478"/>
          <ac:picMkLst>
            <pc:docMk/>
            <pc:sldMk cId="1625672892" sldId="259"/>
            <ac:picMk id="12" creationId="{EB74877C-723D-8C93-7F51-B2F480B9553E}"/>
          </ac:picMkLst>
        </pc:picChg>
        <pc:picChg chg="add mod">
          <ac:chgData name="Luca Ricci" userId="ee5f09d5-0832-4e68-94c9-d8bfd2ad04f0" providerId="ADAL" clId="{D501E5E2-574F-6542-B665-A334471D5578}" dt="2023-12-18T09:40:51.237" v="1276" actId="14100"/>
          <ac:picMkLst>
            <pc:docMk/>
            <pc:sldMk cId="1625672892" sldId="259"/>
            <ac:picMk id="16" creationId="{69C012A2-2CBB-CC32-EDF2-0B6DFA6D9245}"/>
          </ac:picMkLst>
        </pc:picChg>
      </pc:sldChg>
      <pc:sldChg chg="addSp delSp modSp mod modClrScheme chgLayout">
        <pc:chgData name="Luca Ricci" userId="ee5f09d5-0832-4e68-94c9-d8bfd2ad04f0" providerId="ADAL" clId="{D501E5E2-574F-6542-B665-A334471D5578}" dt="2023-12-18T18:18:50.640" v="11129" actId="20577"/>
        <pc:sldMkLst>
          <pc:docMk/>
          <pc:sldMk cId="913701754" sldId="267"/>
        </pc:sldMkLst>
        <pc:spChg chg="add mod ord">
          <ac:chgData name="Luca Ricci" userId="ee5f09d5-0832-4e68-94c9-d8bfd2ad04f0" providerId="ADAL" clId="{D501E5E2-574F-6542-B665-A334471D5578}" dt="2023-12-18T13:47:37.487" v="7642" actId="20577"/>
          <ac:spMkLst>
            <pc:docMk/>
            <pc:sldMk cId="913701754" sldId="267"/>
            <ac:spMk id="2" creationId="{B40086CB-E149-4C33-F1BF-6132B0867F59}"/>
          </ac:spMkLst>
        </pc:spChg>
        <pc:spChg chg="add mod ord">
          <ac:chgData name="Luca Ricci" userId="ee5f09d5-0832-4e68-94c9-d8bfd2ad04f0" providerId="ADAL" clId="{D501E5E2-574F-6542-B665-A334471D5578}" dt="2023-12-18T18:18:50.640" v="11129" actId="20577"/>
          <ac:spMkLst>
            <pc:docMk/>
            <pc:sldMk cId="913701754" sldId="267"/>
            <ac:spMk id="3" creationId="{8D39D37D-9355-8216-502B-248CE6B8D7D6}"/>
          </ac:spMkLst>
        </pc:spChg>
        <pc:spChg chg="add del mod ord">
          <ac:chgData name="Luca Ricci" userId="ee5f09d5-0832-4e68-94c9-d8bfd2ad04f0" providerId="ADAL" clId="{D501E5E2-574F-6542-B665-A334471D5578}" dt="2023-12-18T08:19:41.594" v="209" actId="700"/>
          <ac:spMkLst>
            <pc:docMk/>
            <pc:sldMk cId="913701754" sldId="267"/>
            <ac:spMk id="4" creationId="{0D2DED1B-73B1-B0BA-36B5-509A78042FE9}"/>
          </ac:spMkLst>
        </pc:spChg>
        <pc:spChg chg="mod ord">
          <ac:chgData name="Luca Ricci" userId="ee5f09d5-0832-4e68-94c9-d8bfd2ad04f0" providerId="ADAL" clId="{D501E5E2-574F-6542-B665-A334471D5578}" dt="2023-12-18T09:13:17.782" v="698" actId="700"/>
          <ac:spMkLst>
            <pc:docMk/>
            <pc:sldMk cId="913701754" sldId="267"/>
            <ac:spMk id="5" creationId="{E21AFF28-0883-405B-A8DD-D42393A233A2}"/>
          </ac:spMkLst>
        </pc:spChg>
        <pc:spChg chg="add del mod ord">
          <ac:chgData name="Luca Ricci" userId="ee5f09d5-0832-4e68-94c9-d8bfd2ad04f0" providerId="ADAL" clId="{D501E5E2-574F-6542-B665-A334471D5578}" dt="2023-12-18T09:02:20.701" v="482" actId="700"/>
          <ac:spMkLst>
            <pc:docMk/>
            <pc:sldMk cId="913701754" sldId="267"/>
            <ac:spMk id="8" creationId="{217B792B-0122-24F7-FF2A-6C7D634A97AD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913701754" sldId="267"/>
            <ac:spMk id="9" creationId="{9EFF392B-32BC-BB90-E872-6D1F9AC4B7EB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913701754" sldId="267"/>
            <ac:spMk id="10" creationId="{1D63E338-3196-8361-952F-5561020766FD}"/>
          </ac:spMkLst>
        </pc:spChg>
        <pc:spChg chg="del mod ord">
          <ac:chgData name="Luca Ricci" userId="ee5f09d5-0832-4e68-94c9-d8bfd2ad04f0" providerId="ADAL" clId="{D501E5E2-574F-6542-B665-A334471D5578}" dt="2023-12-18T08:17:50.366" v="14" actId="700"/>
          <ac:spMkLst>
            <pc:docMk/>
            <pc:sldMk cId="913701754" sldId="267"/>
            <ac:spMk id="20" creationId="{457D79A4-B774-F283-EF5E-EDFE0130FC03}"/>
          </ac:spMkLst>
        </pc:spChg>
        <pc:spChg chg="del mod ord">
          <ac:chgData name="Luca Ricci" userId="ee5f09d5-0832-4e68-94c9-d8bfd2ad04f0" providerId="ADAL" clId="{D501E5E2-574F-6542-B665-A334471D5578}" dt="2023-12-18T08:17:50.366" v="14" actId="700"/>
          <ac:spMkLst>
            <pc:docMk/>
            <pc:sldMk cId="913701754" sldId="267"/>
            <ac:spMk id="21" creationId="{255F264B-E505-588A-9605-3C51E4AB1FAB}"/>
          </ac:spMkLst>
        </pc:spChg>
        <pc:spChg chg="del mod ord">
          <ac:chgData name="Luca Ricci" userId="ee5f09d5-0832-4e68-94c9-d8bfd2ad04f0" providerId="ADAL" clId="{D501E5E2-574F-6542-B665-A334471D5578}" dt="2023-12-18T08:17:50.366" v="14" actId="700"/>
          <ac:spMkLst>
            <pc:docMk/>
            <pc:sldMk cId="913701754" sldId="267"/>
            <ac:spMk id="22" creationId="{7D01FEAD-26A1-B766-C97A-56B40A6FE3BC}"/>
          </ac:spMkLst>
        </pc:spChg>
        <pc:spChg chg="del">
          <ac:chgData name="Luca Ricci" userId="ee5f09d5-0832-4e68-94c9-d8bfd2ad04f0" providerId="ADAL" clId="{D501E5E2-574F-6542-B665-A334471D5578}" dt="2023-12-18T08:17:50.366" v="14" actId="700"/>
          <ac:spMkLst>
            <pc:docMk/>
            <pc:sldMk cId="913701754" sldId="267"/>
            <ac:spMk id="23" creationId="{7671A821-5F86-8FC3-A75D-B9F48E99632D}"/>
          </ac:spMkLst>
        </pc:spChg>
        <pc:picChg chg="add mod">
          <ac:chgData name="Luca Ricci" userId="ee5f09d5-0832-4e68-94c9-d8bfd2ad04f0" providerId="ADAL" clId="{D501E5E2-574F-6542-B665-A334471D5578}" dt="2023-12-18T08:19:33.044" v="208" actId="931"/>
          <ac:picMkLst>
            <pc:docMk/>
            <pc:sldMk cId="913701754" sldId="267"/>
            <ac:picMk id="7" creationId="{92DA9E47-B569-4E00-4286-C14900FD767B}"/>
          </ac:picMkLst>
        </pc:picChg>
      </pc:sldChg>
      <pc:sldChg chg="modSp new del mod ord">
        <pc:chgData name="Luca Ricci" userId="ee5f09d5-0832-4e68-94c9-d8bfd2ad04f0" providerId="ADAL" clId="{D501E5E2-574F-6542-B665-A334471D5578}" dt="2023-12-18T09:41:19.939" v="1279" actId="2696"/>
        <pc:sldMkLst>
          <pc:docMk/>
          <pc:sldMk cId="683889689" sldId="268"/>
        </pc:sldMkLst>
        <pc:spChg chg="mod">
          <ac:chgData name="Luca Ricci" userId="ee5f09d5-0832-4e68-94c9-d8bfd2ad04f0" providerId="ADAL" clId="{D501E5E2-574F-6542-B665-A334471D5578}" dt="2023-12-18T09:13:49.151" v="728" actId="20577"/>
          <ac:spMkLst>
            <pc:docMk/>
            <pc:sldMk cId="683889689" sldId="268"/>
            <ac:spMk id="3" creationId="{5DFB1B86-CF32-5C53-B05C-F91A75D47873}"/>
          </ac:spMkLst>
        </pc:spChg>
      </pc:sldChg>
      <pc:sldChg chg="modSp new del mod ord">
        <pc:chgData name="Luca Ricci" userId="ee5f09d5-0832-4e68-94c9-d8bfd2ad04f0" providerId="ADAL" clId="{D501E5E2-574F-6542-B665-A334471D5578}" dt="2023-12-18T12:37:13.655" v="7014" actId="2696"/>
        <pc:sldMkLst>
          <pc:docMk/>
          <pc:sldMk cId="2512870275" sldId="269"/>
        </pc:sldMkLst>
        <pc:spChg chg="mod">
          <ac:chgData name="Luca Ricci" userId="ee5f09d5-0832-4e68-94c9-d8bfd2ad04f0" providerId="ADAL" clId="{D501E5E2-574F-6542-B665-A334471D5578}" dt="2023-12-18T10:00:39.595" v="2301" actId="20577"/>
          <ac:spMkLst>
            <pc:docMk/>
            <pc:sldMk cId="2512870275" sldId="269"/>
            <ac:spMk id="2" creationId="{26AA7EFB-0509-54F1-939B-AF45B285E09A}"/>
          </ac:spMkLst>
        </pc:spChg>
        <pc:spChg chg="mod">
          <ac:chgData name="Luca Ricci" userId="ee5f09d5-0832-4e68-94c9-d8bfd2ad04f0" providerId="ADAL" clId="{D501E5E2-574F-6542-B665-A334471D5578}" dt="2023-12-18T09:13:57.992" v="743" actId="20577"/>
          <ac:spMkLst>
            <pc:docMk/>
            <pc:sldMk cId="2512870275" sldId="269"/>
            <ac:spMk id="3" creationId="{15A7AD8A-44DD-6FAA-9660-891A1F6435F4}"/>
          </ac:spMkLst>
        </pc:spChg>
      </pc:sldChg>
      <pc:sldChg chg="modSp new mod">
        <pc:chgData name="Luca Ricci" userId="ee5f09d5-0832-4e68-94c9-d8bfd2ad04f0" providerId="ADAL" clId="{D501E5E2-574F-6542-B665-A334471D5578}" dt="2023-12-18T14:17:57.158" v="8281" actId="20577"/>
        <pc:sldMkLst>
          <pc:docMk/>
          <pc:sldMk cId="3141277617" sldId="270"/>
        </pc:sldMkLst>
        <pc:spChg chg="mod">
          <ac:chgData name="Luca Ricci" userId="ee5f09d5-0832-4e68-94c9-d8bfd2ad04f0" providerId="ADAL" clId="{D501E5E2-574F-6542-B665-A334471D5578}" dt="2023-12-18T14:17:57.158" v="8281" actId="20577"/>
          <ac:spMkLst>
            <pc:docMk/>
            <pc:sldMk cId="3141277617" sldId="270"/>
            <ac:spMk id="2" creationId="{B54ACEA1-1D5E-E9C5-621F-EEA3DF9102BC}"/>
          </ac:spMkLst>
        </pc:spChg>
        <pc:spChg chg="mod">
          <ac:chgData name="Luca Ricci" userId="ee5f09d5-0832-4e68-94c9-d8bfd2ad04f0" providerId="ADAL" clId="{D501E5E2-574F-6542-B665-A334471D5578}" dt="2023-12-18T10:39:05.768" v="5178" actId="20577"/>
          <ac:spMkLst>
            <pc:docMk/>
            <pc:sldMk cId="3141277617" sldId="270"/>
            <ac:spMk id="3" creationId="{08FCFD86-C6C5-9AC0-BA0A-3F6A2B0D96DC}"/>
          </ac:spMkLst>
        </pc:spChg>
      </pc:sldChg>
      <pc:sldChg chg="addSp delSp modSp add mod">
        <pc:chgData name="Luca Ricci" userId="ee5f09d5-0832-4e68-94c9-d8bfd2ad04f0" providerId="ADAL" clId="{D501E5E2-574F-6542-B665-A334471D5578}" dt="2023-12-18T18:19:58.194" v="11143" actId="20577"/>
        <pc:sldMkLst>
          <pc:docMk/>
          <pc:sldMk cId="1589680712" sldId="271"/>
        </pc:sldMkLst>
        <pc:spChg chg="mod">
          <ac:chgData name="Luca Ricci" userId="ee5f09d5-0832-4e68-94c9-d8bfd2ad04f0" providerId="ADAL" clId="{D501E5E2-574F-6542-B665-A334471D5578}" dt="2023-12-18T18:11:34.019" v="10960" actId="20577"/>
          <ac:spMkLst>
            <pc:docMk/>
            <pc:sldMk cId="1589680712" sldId="271"/>
            <ac:spMk id="2" creationId="{96B142A3-3E18-4302-85FC-39EF0216B791}"/>
          </ac:spMkLst>
        </pc:spChg>
        <pc:spChg chg="add del mod">
          <ac:chgData name="Luca Ricci" userId="ee5f09d5-0832-4e68-94c9-d8bfd2ad04f0" providerId="ADAL" clId="{D501E5E2-574F-6542-B665-A334471D5578}" dt="2023-12-18T09:42:05.349" v="1393" actId="478"/>
          <ac:spMkLst>
            <pc:docMk/>
            <pc:sldMk cId="1589680712" sldId="271"/>
            <ac:spMk id="4" creationId="{B017C7BD-602F-0487-8E29-A7CAC0FDDC96}"/>
          </ac:spMkLst>
        </pc:spChg>
        <pc:spChg chg="add mod">
          <ac:chgData name="Luca Ricci" userId="ee5f09d5-0832-4e68-94c9-d8bfd2ad04f0" providerId="ADAL" clId="{D501E5E2-574F-6542-B665-A334471D5578}" dt="2023-12-18T09:44:19.554" v="1525" actId="207"/>
          <ac:spMkLst>
            <pc:docMk/>
            <pc:sldMk cId="1589680712" sldId="271"/>
            <ac:spMk id="5" creationId="{86FA4E78-D0A0-102A-FF33-4EE1591D4623}"/>
          </ac:spMkLst>
        </pc:spChg>
        <pc:spChg chg="add mod">
          <ac:chgData name="Luca Ricci" userId="ee5f09d5-0832-4e68-94c9-d8bfd2ad04f0" providerId="ADAL" clId="{D501E5E2-574F-6542-B665-A334471D5578}" dt="2023-12-18T09:44:33.630" v="1530" actId="1076"/>
          <ac:spMkLst>
            <pc:docMk/>
            <pc:sldMk cId="1589680712" sldId="271"/>
            <ac:spMk id="6" creationId="{D51D789D-905C-86F5-C060-CF961C84F2C9}"/>
          </ac:spMkLst>
        </pc:spChg>
        <pc:spChg chg="add mod">
          <ac:chgData name="Luca Ricci" userId="ee5f09d5-0832-4e68-94c9-d8bfd2ad04f0" providerId="ADAL" clId="{D501E5E2-574F-6542-B665-A334471D5578}" dt="2023-12-18T09:45:06.803" v="1559" actId="14100"/>
          <ac:spMkLst>
            <pc:docMk/>
            <pc:sldMk cId="1589680712" sldId="271"/>
            <ac:spMk id="7" creationId="{E215B337-F8D7-2B47-84CE-40B2CB2392D9}"/>
          </ac:spMkLst>
        </pc:spChg>
        <pc:spChg chg="add mod">
          <ac:chgData name="Luca Ricci" userId="ee5f09d5-0832-4e68-94c9-d8bfd2ad04f0" providerId="ADAL" clId="{D501E5E2-574F-6542-B665-A334471D5578}" dt="2023-12-18T09:45:21.098" v="1563" actId="14100"/>
          <ac:spMkLst>
            <pc:docMk/>
            <pc:sldMk cId="1589680712" sldId="271"/>
            <ac:spMk id="8" creationId="{2D08BCDB-0C6F-8470-2862-04E3519D9D7B}"/>
          </ac:spMkLst>
        </pc:spChg>
        <pc:spChg chg="add mod">
          <ac:chgData name="Luca Ricci" userId="ee5f09d5-0832-4e68-94c9-d8bfd2ad04f0" providerId="ADAL" clId="{D501E5E2-574F-6542-B665-A334471D5578}" dt="2023-12-18T09:45:35.990" v="1569" actId="14100"/>
          <ac:spMkLst>
            <pc:docMk/>
            <pc:sldMk cId="1589680712" sldId="271"/>
            <ac:spMk id="9" creationId="{849F5BBF-E0FE-92E0-9944-74364211B328}"/>
          </ac:spMkLst>
        </pc:spChg>
        <pc:spChg chg="mod">
          <ac:chgData name="Luca Ricci" userId="ee5f09d5-0832-4e68-94c9-d8bfd2ad04f0" providerId="ADAL" clId="{D501E5E2-574F-6542-B665-A334471D5578}" dt="2023-12-18T18:19:58.194" v="11143" actId="20577"/>
          <ac:spMkLst>
            <pc:docMk/>
            <pc:sldMk cId="1589680712" sldId="271"/>
            <ac:spMk id="10" creationId="{5A82A501-62D7-BA88-FCEA-42DF25F31526}"/>
          </ac:spMkLst>
        </pc:spChg>
        <pc:spChg chg="add mod">
          <ac:chgData name="Luca Ricci" userId="ee5f09d5-0832-4e68-94c9-d8bfd2ad04f0" providerId="ADAL" clId="{D501E5E2-574F-6542-B665-A334471D5578}" dt="2023-12-18T09:45:44.704" v="1574" actId="14100"/>
          <ac:spMkLst>
            <pc:docMk/>
            <pc:sldMk cId="1589680712" sldId="271"/>
            <ac:spMk id="11" creationId="{3FD9809B-1D8D-A93F-0C0D-19CE6B065D65}"/>
          </ac:spMkLst>
        </pc:spChg>
        <pc:spChg chg="add mod">
          <ac:chgData name="Luca Ricci" userId="ee5f09d5-0832-4e68-94c9-d8bfd2ad04f0" providerId="ADAL" clId="{D501E5E2-574F-6542-B665-A334471D5578}" dt="2023-12-18T09:45:52.125" v="1578" actId="14100"/>
          <ac:spMkLst>
            <pc:docMk/>
            <pc:sldMk cId="1589680712" sldId="271"/>
            <ac:spMk id="12" creationId="{AE118810-192C-E543-381D-FDFEFE17C593}"/>
          </ac:spMkLst>
        </pc:spChg>
        <pc:spChg chg="add mod">
          <ac:chgData name="Luca Ricci" userId="ee5f09d5-0832-4e68-94c9-d8bfd2ad04f0" providerId="ADAL" clId="{D501E5E2-574F-6542-B665-A334471D5578}" dt="2023-12-18T09:46:00.996" v="1582" actId="14100"/>
          <ac:spMkLst>
            <pc:docMk/>
            <pc:sldMk cId="1589680712" sldId="271"/>
            <ac:spMk id="13" creationId="{09F14A1B-3DBC-2776-D40E-28CBC3DE563E}"/>
          </ac:spMkLst>
        </pc:spChg>
      </pc:sldChg>
      <pc:sldChg chg="addSp modSp add del mod">
        <pc:chgData name="Luca Ricci" userId="ee5f09d5-0832-4e68-94c9-d8bfd2ad04f0" providerId="ADAL" clId="{D501E5E2-574F-6542-B665-A334471D5578}" dt="2023-12-18T09:40:59.533" v="1277" actId="2696"/>
        <pc:sldMkLst>
          <pc:docMk/>
          <pc:sldMk cId="2090004041" sldId="271"/>
        </pc:sldMkLst>
        <pc:spChg chg="mod">
          <ac:chgData name="Luca Ricci" userId="ee5f09d5-0832-4e68-94c9-d8bfd2ad04f0" providerId="ADAL" clId="{D501E5E2-574F-6542-B665-A334471D5578}" dt="2023-12-18T09:36:46.740" v="1252" actId="20577"/>
          <ac:spMkLst>
            <pc:docMk/>
            <pc:sldMk cId="2090004041" sldId="271"/>
            <ac:spMk id="2" creationId="{96B142A3-3E18-4302-85FC-39EF0216B791}"/>
          </ac:spMkLst>
        </pc:spChg>
        <pc:spChg chg="add mod">
          <ac:chgData name="Luca Ricci" userId="ee5f09d5-0832-4e68-94c9-d8bfd2ad04f0" providerId="ADAL" clId="{D501E5E2-574F-6542-B665-A334471D5578}" dt="2023-12-18T09:37:22.160" v="1266" actId="14100"/>
          <ac:spMkLst>
            <pc:docMk/>
            <pc:sldMk cId="2090004041" sldId="271"/>
            <ac:spMk id="3" creationId="{53FB8571-B157-A168-A02C-397DAC233CC7}"/>
          </ac:spMkLst>
        </pc:spChg>
        <pc:spChg chg="add mod">
          <ac:chgData name="Luca Ricci" userId="ee5f09d5-0832-4e68-94c9-d8bfd2ad04f0" providerId="ADAL" clId="{D501E5E2-574F-6542-B665-A334471D5578}" dt="2023-12-18T09:36:20.681" v="1214" actId="14100"/>
          <ac:spMkLst>
            <pc:docMk/>
            <pc:sldMk cId="2090004041" sldId="271"/>
            <ac:spMk id="4" creationId="{EC080165-4858-7AA3-F67C-9A20C3E79746}"/>
          </ac:spMkLst>
        </pc:spChg>
        <pc:spChg chg="add mod">
          <ac:chgData name="Luca Ricci" userId="ee5f09d5-0832-4e68-94c9-d8bfd2ad04f0" providerId="ADAL" clId="{D501E5E2-574F-6542-B665-A334471D5578}" dt="2023-12-18T09:36:30.600" v="1218" actId="14100"/>
          <ac:spMkLst>
            <pc:docMk/>
            <pc:sldMk cId="2090004041" sldId="271"/>
            <ac:spMk id="5" creationId="{277B2FCF-CE8A-DB88-DC6F-9F96DDAFA6C3}"/>
          </ac:spMkLst>
        </pc:spChg>
        <pc:spChg chg="add mod">
          <ac:chgData name="Luca Ricci" userId="ee5f09d5-0832-4e68-94c9-d8bfd2ad04f0" providerId="ADAL" clId="{D501E5E2-574F-6542-B665-A334471D5578}" dt="2023-12-18T09:37:34.928" v="1270" actId="14100"/>
          <ac:spMkLst>
            <pc:docMk/>
            <pc:sldMk cId="2090004041" sldId="271"/>
            <ac:spMk id="6" creationId="{23FFE452-3060-8046-E89E-C1B30F83B24D}"/>
          </ac:spMkLst>
        </pc:spChg>
      </pc:sldChg>
      <pc:sldChg chg="addSp delSp modSp add mod">
        <pc:chgData name="Luca Ricci" userId="ee5f09d5-0832-4e68-94c9-d8bfd2ad04f0" providerId="ADAL" clId="{D501E5E2-574F-6542-B665-A334471D5578}" dt="2023-12-18T18:11:59.359" v="10997" actId="20577"/>
        <pc:sldMkLst>
          <pc:docMk/>
          <pc:sldMk cId="2779813759" sldId="272"/>
        </pc:sldMkLst>
        <pc:spChg chg="mod">
          <ac:chgData name="Luca Ricci" userId="ee5f09d5-0832-4e68-94c9-d8bfd2ad04f0" providerId="ADAL" clId="{D501E5E2-574F-6542-B665-A334471D5578}" dt="2023-12-18T18:11:59.359" v="10997" actId="20577"/>
          <ac:spMkLst>
            <pc:docMk/>
            <pc:sldMk cId="2779813759" sldId="272"/>
            <ac:spMk id="2" creationId="{96B142A3-3E18-4302-85FC-39EF0216B791}"/>
          </ac:spMkLst>
        </pc:spChg>
        <pc:spChg chg="add mod">
          <ac:chgData name="Luca Ricci" userId="ee5f09d5-0832-4e68-94c9-d8bfd2ad04f0" providerId="ADAL" clId="{D501E5E2-574F-6542-B665-A334471D5578}" dt="2023-12-18T13:30:00.800" v="7501" actId="207"/>
          <ac:spMkLst>
            <pc:docMk/>
            <pc:sldMk cId="2779813759" sldId="272"/>
            <ac:spMk id="3" creationId="{3EF73BAF-42A6-A010-727C-541101AEEB35}"/>
          </ac:spMkLst>
        </pc:spChg>
        <pc:spChg chg="add mod">
          <ac:chgData name="Luca Ricci" userId="ee5f09d5-0832-4e68-94c9-d8bfd2ad04f0" providerId="ADAL" clId="{D501E5E2-574F-6542-B665-A334471D5578}" dt="2023-12-18T09:48:18.367" v="1690" actId="14100"/>
          <ac:spMkLst>
            <pc:docMk/>
            <pc:sldMk cId="2779813759" sldId="272"/>
            <ac:spMk id="4" creationId="{561FE2AF-2A52-3FD1-2F67-8A7460117B97}"/>
          </ac:spMkLst>
        </pc:spChg>
        <pc:spChg chg="del">
          <ac:chgData name="Luca Ricci" userId="ee5f09d5-0832-4e68-94c9-d8bfd2ad04f0" providerId="ADAL" clId="{D501E5E2-574F-6542-B665-A334471D5578}" dt="2023-12-18T13:34:44.360" v="7519" actId="478"/>
          <ac:spMkLst>
            <pc:docMk/>
            <pc:sldMk cId="2779813759" sldId="272"/>
            <ac:spMk id="5" creationId="{86FA4E78-D0A0-102A-FF33-4EE1591D4623}"/>
          </ac:spMkLst>
        </pc:spChg>
        <pc:spChg chg="del">
          <ac:chgData name="Luca Ricci" userId="ee5f09d5-0832-4e68-94c9-d8bfd2ad04f0" providerId="ADAL" clId="{D501E5E2-574F-6542-B665-A334471D5578}" dt="2023-12-18T13:34:46.087" v="7520" actId="478"/>
          <ac:spMkLst>
            <pc:docMk/>
            <pc:sldMk cId="2779813759" sldId="272"/>
            <ac:spMk id="6" creationId="{D51D789D-905C-86F5-C060-CF961C84F2C9}"/>
          </ac:spMkLst>
        </pc:spChg>
        <pc:spChg chg="del">
          <ac:chgData name="Luca Ricci" userId="ee5f09d5-0832-4e68-94c9-d8bfd2ad04f0" providerId="ADAL" clId="{D501E5E2-574F-6542-B665-A334471D5578}" dt="2023-12-18T13:34:50.866" v="7522" actId="478"/>
          <ac:spMkLst>
            <pc:docMk/>
            <pc:sldMk cId="2779813759" sldId="272"/>
            <ac:spMk id="7" creationId="{E215B337-F8D7-2B47-84CE-40B2CB2392D9}"/>
          </ac:spMkLst>
        </pc:spChg>
        <pc:spChg chg="del">
          <ac:chgData name="Luca Ricci" userId="ee5f09d5-0832-4e68-94c9-d8bfd2ad04f0" providerId="ADAL" clId="{D501E5E2-574F-6542-B665-A334471D5578}" dt="2023-12-18T13:34:48.004" v="7521" actId="478"/>
          <ac:spMkLst>
            <pc:docMk/>
            <pc:sldMk cId="2779813759" sldId="272"/>
            <ac:spMk id="8" creationId="{2D08BCDB-0C6F-8470-2862-04E3519D9D7B}"/>
          </ac:spMkLst>
        </pc:spChg>
        <pc:spChg chg="del">
          <ac:chgData name="Luca Ricci" userId="ee5f09d5-0832-4e68-94c9-d8bfd2ad04f0" providerId="ADAL" clId="{D501E5E2-574F-6542-B665-A334471D5578}" dt="2023-12-18T13:34:55.237" v="7524" actId="478"/>
          <ac:spMkLst>
            <pc:docMk/>
            <pc:sldMk cId="2779813759" sldId="272"/>
            <ac:spMk id="9" creationId="{849F5BBF-E0FE-92E0-9944-74364211B328}"/>
          </ac:spMkLst>
        </pc:spChg>
        <pc:spChg chg="mod">
          <ac:chgData name="Luca Ricci" userId="ee5f09d5-0832-4e68-94c9-d8bfd2ad04f0" providerId="ADAL" clId="{D501E5E2-574F-6542-B665-A334471D5578}" dt="2023-12-18T16:44:46.318" v="10055" actId="20577"/>
          <ac:spMkLst>
            <pc:docMk/>
            <pc:sldMk cId="2779813759" sldId="272"/>
            <ac:spMk id="10" creationId="{5A82A501-62D7-BA88-FCEA-42DF25F31526}"/>
          </ac:spMkLst>
        </pc:spChg>
        <pc:spChg chg="del">
          <ac:chgData name="Luca Ricci" userId="ee5f09d5-0832-4e68-94c9-d8bfd2ad04f0" providerId="ADAL" clId="{D501E5E2-574F-6542-B665-A334471D5578}" dt="2023-12-18T13:34:56.781" v="7525" actId="478"/>
          <ac:spMkLst>
            <pc:docMk/>
            <pc:sldMk cId="2779813759" sldId="272"/>
            <ac:spMk id="11" creationId="{3FD9809B-1D8D-A93F-0C0D-19CE6B065D65}"/>
          </ac:spMkLst>
        </pc:spChg>
        <pc:spChg chg="del">
          <ac:chgData name="Luca Ricci" userId="ee5f09d5-0832-4e68-94c9-d8bfd2ad04f0" providerId="ADAL" clId="{D501E5E2-574F-6542-B665-A334471D5578}" dt="2023-12-18T13:34:59.191" v="7526" actId="478"/>
          <ac:spMkLst>
            <pc:docMk/>
            <pc:sldMk cId="2779813759" sldId="272"/>
            <ac:spMk id="12" creationId="{AE118810-192C-E543-381D-FDFEFE17C593}"/>
          </ac:spMkLst>
        </pc:spChg>
        <pc:spChg chg="del">
          <ac:chgData name="Luca Ricci" userId="ee5f09d5-0832-4e68-94c9-d8bfd2ad04f0" providerId="ADAL" clId="{D501E5E2-574F-6542-B665-A334471D5578}" dt="2023-12-18T13:34:53.199" v="7523" actId="478"/>
          <ac:spMkLst>
            <pc:docMk/>
            <pc:sldMk cId="2779813759" sldId="272"/>
            <ac:spMk id="13" creationId="{09F14A1B-3DBC-2776-D40E-28CBC3DE563E}"/>
          </ac:spMkLst>
        </pc:spChg>
        <pc:spChg chg="add mod">
          <ac:chgData name="Luca Ricci" userId="ee5f09d5-0832-4e68-94c9-d8bfd2ad04f0" providerId="ADAL" clId="{D501E5E2-574F-6542-B665-A334471D5578}" dt="2023-12-18T09:48:30.460" v="1697" actId="14100"/>
          <ac:spMkLst>
            <pc:docMk/>
            <pc:sldMk cId="2779813759" sldId="272"/>
            <ac:spMk id="14" creationId="{63BAE6FF-B12C-2A4D-2B25-8B4C96E7A85D}"/>
          </ac:spMkLst>
        </pc:spChg>
        <pc:spChg chg="add mod">
          <ac:chgData name="Luca Ricci" userId="ee5f09d5-0832-4e68-94c9-d8bfd2ad04f0" providerId="ADAL" clId="{D501E5E2-574F-6542-B665-A334471D5578}" dt="2023-12-18T13:30:00.800" v="7501" actId="207"/>
          <ac:spMkLst>
            <pc:docMk/>
            <pc:sldMk cId="2779813759" sldId="272"/>
            <ac:spMk id="15" creationId="{FFFB0D11-6842-7935-6A96-AFF1AB638A96}"/>
          </ac:spMkLst>
        </pc:spChg>
        <pc:spChg chg="add mod">
          <ac:chgData name="Luca Ricci" userId="ee5f09d5-0832-4e68-94c9-d8bfd2ad04f0" providerId="ADAL" clId="{D501E5E2-574F-6542-B665-A334471D5578}" dt="2023-12-18T13:30:00.800" v="7501" actId="207"/>
          <ac:spMkLst>
            <pc:docMk/>
            <pc:sldMk cId="2779813759" sldId="272"/>
            <ac:spMk id="17" creationId="{F496740F-0E92-4DAD-8200-0B92F7D4CD75}"/>
          </ac:spMkLst>
        </pc:spChg>
      </pc:sldChg>
      <pc:sldChg chg="delSp modSp add mod">
        <pc:chgData name="Luca Ricci" userId="ee5f09d5-0832-4e68-94c9-d8bfd2ad04f0" providerId="ADAL" clId="{D501E5E2-574F-6542-B665-A334471D5578}" dt="2023-12-18T16:39:40.060" v="9750" actId="478"/>
        <pc:sldMkLst>
          <pc:docMk/>
          <pc:sldMk cId="1135736597" sldId="273"/>
        </pc:sldMkLst>
        <pc:spChg chg="mod">
          <ac:chgData name="Luca Ricci" userId="ee5f09d5-0832-4e68-94c9-d8bfd2ad04f0" providerId="ADAL" clId="{D501E5E2-574F-6542-B665-A334471D5578}" dt="2023-12-18T15:21:52.006" v="8780" actId="20577"/>
          <ac:spMkLst>
            <pc:docMk/>
            <pc:sldMk cId="1135736597" sldId="273"/>
            <ac:spMk id="2" creationId="{96B142A3-3E18-4302-85FC-39EF0216B791}"/>
          </ac:spMkLst>
        </pc:spChg>
        <pc:spChg chg="del">
          <ac:chgData name="Luca Ricci" userId="ee5f09d5-0832-4e68-94c9-d8bfd2ad04f0" providerId="ADAL" clId="{D501E5E2-574F-6542-B665-A334471D5578}" dt="2023-12-18T13:30:57.690" v="7512" actId="478"/>
          <ac:spMkLst>
            <pc:docMk/>
            <pc:sldMk cId="1135736597" sldId="273"/>
            <ac:spMk id="3" creationId="{3EF73BAF-42A6-A010-727C-541101AEEB35}"/>
          </ac:spMkLst>
        </pc:spChg>
        <pc:spChg chg="del">
          <ac:chgData name="Luca Ricci" userId="ee5f09d5-0832-4e68-94c9-d8bfd2ad04f0" providerId="ADAL" clId="{D501E5E2-574F-6542-B665-A334471D5578}" dt="2023-12-18T13:30:50.709" v="7509" actId="478"/>
          <ac:spMkLst>
            <pc:docMk/>
            <pc:sldMk cId="1135736597" sldId="273"/>
            <ac:spMk id="4" creationId="{561FE2AF-2A52-3FD1-2F67-8A7460117B97}"/>
          </ac:spMkLst>
        </pc:spChg>
        <pc:spChg chg="del">
          <ac:chgData name="Luca Ricci" userId="ee5f09d5-0832-4e68-94c9-d8bfd2ad04f0" providerId="ADAL" clId="{D501E5E2-574F-6542-B665-A334471D5578}" dt="2023-12-18T13:31:00.336" v="7514" actId="478"/>
          <ac:spMkLst>
            <pc:docMk/>
            <pc:sldMk cId="1135736597" sldId="273"/>
            <ac:spMk id="5" creationId="{86FA4E78-D0A0-102A-FF33-4EE1591D4623}"/>
          </ac:spMkLst>
        </pc:spChg>
        <pc:spChg chg="del">
          <ac:chgData name="Luca Ricci" userId="ee5f09d5-0832-4e68-94c9-d8bfd2ad04f0" providerId="ADAL" clId="{D501E5E2-574F-6542-B665-A334471D5578}" dt="2023-12-18T13:31:01.475" v="7515" actId="478"/>
          <ac:spMkLst>
            <pc:docMk/>
            <pc:sldMk cId="1135736597" sldId="273"/>
            <ac:spMk id="6" creationId="{D51D789D-905C-86F5-C060-CF961C84F2C9}"/>
          </ac:spMkLst>
        </pc:spChg>
        <pc:spChg chg="del">
          <ac:chgData name="Luca Ricci" userId="ee5f09d5-0832-4e68-94c9-d8bfd2ad04f0" providerId="ADAL" clId="{D501E5E2-574F-6542-B665-A334471D5578}" dt="2023-12-18T13:30:53.685" v="7510" actId="478"/>
          <ac:spMkLst>
            <pc:docMk/>
            <pc:sldMk cId="1135736597" sldId="273"/>
            <ac:spMk id="7" creationId="{E215B337-F8D7-2B47-84CE-40B2CB2392D9}"/>
          </ac:spMkLst>
        </pc:spChg>
        <pc:spChg chg="del">
          <ac:chgData name="Luca Ricci" userId="ee5f09d5-0832-4e68-94c9-d8bfd2ad04f0" providerId="ADAL" clId="{D501E5E2-574F-6542-B665-A334471D5578}" dt="2023-12-18T13:30:55.182" v="7511" actId="478"/>
          <ac:spMkLst>
            <pc:docMk/>
            <pc:sldMk cId="1135736597" sldId="273"/>
            <ac:spMk id="8" creationId="{2D08BCDB-0C6F-8470-2862-04E3519D9D7B}"/>
          </ac:spMkLst>
        </pc:spChg>
        <pc:spChg chg="del">
          <ac:chgData name="Luca Ricci" userId="ee5f09d5-0832-4e68-94c9-d8bfd2ad04f0" providerId="ADAL" clId="{D501E5E2-574F-6542-B665-A334471D5578}" dt="2023-12-18T13:31:03.878" v="7516" actId="478"/>
          <ac:spMkLst>
            <pc:docMk/>
            <pc:sldMk cId="1135736597" sldId="273"/>
            <ac:spMk id="9" creationId="{849F5BBF-E0FE-92E0-9944-74364211B328}"/>
          </ac:spMkLst>
        </pc:spChg>
        <pc:spChg chg="mod">
          <ac:chgData name="Luca Ricci" userId="ee5f09d5-0832-4e68-94c9-d8bfd2ad04f0" providerId="ADAL" clId="{D501E5E2-574F-6542-B665-A334471D5578}" dt="2023-12-18T15:40:03.996" v="9161" actId="20577"/>
          <ac:spMkLst>
            <pc:docMk/>
            <pc:sldMk cId="1135736597" sldId="273"/>
            <ac:spMk id="10" creationId="{5A82A501-62D7-BA88-FCEA-42DF25F31526}"/>
          </ac:spMkLst>
        </pc:spChg>
        <pc:spChg chg="del">
          <ac:chgData name="Luca Ricci" userId="ee5f09d5-0832-4e68-94c9-d8bfd2ad04f0" providerId="ADAL" clId="{D501E5E2-574F-6542-B665-A334471D5578}" dt="2023-12-18T13:31:06.247" v="7517" actId="478"/>
          <ac:spMkLst>
            <pc:docMk/>
            <pc:sldMk cId="1135736597" sldId="273"/>
            <ac:spMk id="11" creationId="{3FD9809B-1D8D-A93F-0C0D-19CE6B065D65}"/>
          </ac:spMkLst>
        </pc:spChg>
        <pc:spChg chg="del">
          <ac:chgData name="Luca Ricci" userId="ee5f09d5-0832-4e68-94c9-d8bfd2ad04f0" providerId="ADAL" clId="{D501E5E2-574F-6542-B665-A334471D5578}" dt="2023-12-18T13:31:07.472" v="7518" actId="478"/>
          <ac:spMkLst>
            <pc:docMk/>
            <pc:sldMk cId="1135736597" sldId="273"/>
            <ac:spMk id="12" creationId="{AE118810-192C-E543-381D-FDFEFE17C593}"/>
          </ac:spMkLst>
        </pc:spChg>
        <pc:spChg chg="del">
          <ac:chgData name="Luca Ricci" userId="ee5f09d5-0832-4e68-94c9-d8bfd2ad04f0" providerId="ADAL" clId="{D501E5E2-574F-6542-B665-A334471D5578}" dt="2023-12-18T16:39:40.060" v="9750" actId="478"/>
          <ac:spMkLst>
            <pc:docMk/>
            <pc:sldMk cId="1135736597" sldId="273"/>
            <ac:spMk id="13" creationId="{09F14A1B-3DBC-2776-D40E-28CBC3DE563E}"/>
          </ac:spMkLst>
        </pc:spChg>
        <pc:spChg chg="del">
          <ac:chgData name="Luca Ricci" userId="ee5f09d5-0832-4e68-94c9-d8bfd2ad04f0" providerId="ADAL" clId="{D501E5E2-574F-6542-B665-A334471D5578}" dt="2023-12-18T13:30:58.571" v="7513" actId="478"/>
          <ac:spMkLst>
            <pc:docMk/>
            <pc:sldMk cId="1135736597" sldId="273"/>
            <ac:spMk id="14" creationId="{63BAE6FF-B12C-2A4D-2B25-8B4C96E7A85D}"/>
          </ac:spMkLst>
        </pc:spChg>
      </pc:sldChg>
      <pc:sldChg chg="addSp delSp modSp new del mod modClrScheme chgLayout">
        <pc:chgData name="Luca Ricci" userId="ee5f09d5-0832-4e68-94c9-d8bfd2ad04f0" providerId="ADAL" clId="{D501E5E2-574F-6542-B665-A334471D5578}" dt="2023-12-18T09:57:04.722" v="2238" actId="2696"/>
        <pc:sldMkLst>
          <pc:docMk/>
          <pc:sldMk cId="3563392032" sldId="273"/>
        </pc:sldMkLst>
        <pc:spChg chg="del mod ord">
          <ac:chgData name="Luca Ricci" userId="ee5f09d5-0832-4e68-94c9-d8bfd2ad04f0" providerId="ADAL" clId="{D501E5E2-574F-6542-B665-A334471D5578}" dt="2023-12-18T09:56:07.427" v="2169" actId="700"/>
          <ac:spMkLst>
            <pc:docMk/>
            <pc:sldMk cId="3563392032" sldId="273"/>
            <ac:spMk id="2" creationId="{EBFC613F-9523-E865-3D77-F65A65A85FA7}"/>
          </ac:spMkLst>
        </pc:spChg>
        <pc:spChg chg="del">
          <ac:chgData name="Luca Ricci" userId="ee5f09d5-0832-4e68-94c9-d8bfd2ad04f0" providerId="ADAL" clId="{D501E5E2-574F-6542-B665-A334471D5578}" dt="2023-12-18T09:56:07.427" v="2169" actId="700"/>
          <ac:spMkLst>
            <pc:docMk/>
            <pc:sldMk cId="3563392032" sldId="273"/>
            <ac:spMk id="3" creationId="{16D72495-105C-9B34-CD30-BE071D6897A5}"/>
          </ac:spMkLst>
        </pc:spChg>
        <pc:spChg chg="del mod ord">
          <ac:chgData name="Luca Ricci" userId="ee5f09d5-0832-4e68-94c9-d8bfd2ad04f0" providerId="ADAL" clId="{D501E5E2-574F-6542-B665-A334471D5578}" dt="2023-12-18T09:56:07.427" v="2169" actId="700"/>
          <ac:spMkLst>
            <pc:docMk/>
            <pc:sldMk cId="3563392032" sldId="273"/>
            <ac:spMk id="4" creationId="{4DC53D6C-C3A5-3036-672D-996ADE10A242}"/>
          </ac:spMkLst>
        </pc:spChg>
        <pc:spChg chg="mod ord">
          <ac:chgData name="Luca Ricci" userId="ee5f09d5-0832-4e68-94c9-d8bfd2ad04f0" providerId="ADAL" clId="{D501E5E2-574F-6542-B665-A334471D5578}" dt="2023-12-18T09:56:07.427" v="2169" actId="700"/>
          <ac:spMkLst>
            <pc:docMk/>
            <pc:sldMk cId="3563392032" sldId="273"/>
            <ac:spMk id="5" creationId="{15B1AD4A-35AB-C1A2-6AE4-32425FF28BFE}"/>
          </ac:spMkLst>
        </pc:spChg>
        <pc:spChg chg="mod ord">
          <ac:chgData name="Luca Ricci" userId="ee5f09d5-0832-4e68-94c9-d8bfd2ad04f0" providerId="ADAL" clId="{D501E5E2-574F-6542-B665-A334471D5578}" dt="2023-12-18T09:56:07.427" v="2169" actId="700"/>
          <ac:spMkLst>
            <pc:docMk/>
            <pc:sldMk cId="3563392032" sldId="273"/>
            <ac:spMk id="6" creationId="{44DBE4D8-2277-1832-ECEE-1C4BC20FF5A4}"/>
          </ac:spMkLst>
        </pc:spChg>
        <pc:spChg chg="add mod ord">
          <ac:chgData name="Luca Ricci" userId="ee5f09d5-0832-4e68-94c9-d8bfd2ad04f0" providerId="ADAL" clId="{D501E5E2-574F-6542-B665-A334471D5578}" dt="2023-12-18T09:56:17.228" v="2187" actId="20577"/>
          <ac:spMkLst>
            <pc:docMk/>
            <pc:sldMk cId="3563392032" sldId="273"/>
            <ac:spMk id="7" creationId="{93C99CEA-9DE5-6FAD-2200-5D96CF3318D6}"/>
          </ac:spMkLst>
        </pc:spChg>
        <pc:spChg chg="add mod ord">
          <ac:chgData name="Luca Ricci" userId="ee5f09d5-0832-4e68-94c9-d8bfd2ad04f0" providerId="ADAL" clId="{D501E5E2-574F-6542-B665-A334471D5578}" dt="2023-12-18T09:56:43.702" v="2237" actId="20577"/>
          <ac:spMkLst>
            <pc:docMk/>
            <pc:sldMk cId="3563392032" sldId="273"/>
            <ac:spMk id="8" creationId="{4063DF65-C751-6223-0320-0ABC342D6873}"/>
          </ac:spMkLst>
        </pc:spChg>
      </pc:sldChg>
      <pc:sldChg chg="modSp new mod">
        <pc:chgData name="Luca Ricci" userId="ee5f09d5-0832-4e68-94c9-d8bfd2ad04f0" providerId="ADAL" clId="{D501E5E2-574F-6542-B665-A334471D5578}" dt="2023-12-18T18:17:55.569" v="11055" actId="313"/>
        <pc:sldMkLst>
          <pc:docMk/>
          <pc:sldMk cId="2968188460" sldId="274"/>
        </pc:sldMkLst>
        <pc:spChg chg="mod">
          <ac:chgData name="Luca Ricci" userId="ee5f09d5-0832-4e68-94c9-d8bfd2ad04f0" providerId="ADAL" clId="{D501E5E2-574F-6542-B665-A334471D5578}" dt="2023-12-18T18:17:55.569" v="11055" actId="313"/>
          <ac:spMkLst>
            <pc:docMk/>
            <pc:sldMk cId="2968188460" sldId="274"/>
            <ac:spMk id="2" creationId="{B545D168-F5D6-D66F-354B-7282097BB224}"/>
          </ac:spMkLst>
        </pc:spChg>
        <pc:spChg chg="mod">
          <ac:chgData name="Luca Ricci" userId="ee5f09d5-0832-4e68-94c9-d8bfd2ad04f0" providerId="ADAL" clId="{D501E5E2-574F-6542-B665-A334471D5578}" dt="2023-12-18T17:02:56.655" v="10333" actId="20577"/>
          <ac:spMkLst>
            <pc:docMk/>
            <pc:sldMk cId="2968188460" sldId="274"/>
            <ac:spMk id="3" creationId="{ACD80753-20DC-28DE-860C-EBBFE720783E}"/>
          </ac:spMkLst>
        </pc:spChg>
      </pc:sldChg>
      <pc:sldChg chg="modSp new del mod ord modShow">
        <pc:chgData name="Luca Ricci" userId="ee5f09d5-0832-4e68-94c9-d8bfd2ad04f0" providerId="ADAL" clId="{D501E5E2-574F-6542-B665-A334471D5578}" dt="2023-12-18T12:38:02.965" v="7148" actId="2696"/>
        <pc:sldMkLst>
          <pc:docMk/>
          <pc:sldMk cId="2821408771" sldId="275"/>
        </pc:sldMkLst>
        <pc:spChg chg="mod">
          <ac:chgData name="Luca Ricci" userId="ee5f09d5-0832-4e68-94c9-d8bfd2ad04f0" providerId="ADAL" clId="{D501E5E2-574F-6542-B665-A334471D5578}" dt="2023-12-18T10:36:59.879" v="5076" actId="20577"/>
          <ac:spMkLst>
            <pc:docMk/>
            <pc:sldMk cId="2821408771" sldId="275"/>
            <ac:spMk id="2" creationId="{D92DA106-FA14-6ECC-0FCA-6694E6A156AB}"/>
          </ac:spMkLst>
        </pc:spChg>
        <pc:spChg chg="mod">
          <ac:chgData name="Luca Ricci" userId="ee5f09d5-0832-4e68-94c9-d8bfd2ad04f0" providerId="ADAL" clId="{D501E5E2-574F-6542-B665-A334471D5578}" dt="2023-12-18T10:35:05.177" v="4867" actId="20577"/>
          <ac:spMkLst>
            <pc:docMk/>
            <pc:sldMk cId="2821408771" sldId="275"/>
            <ac:spMk id="3" creationId="{E4945D54-5D09-0051-78B4-FA7583C05688}"/>
          </ac:spMkLst>
        </pc:spChg>
      </pc:sldChg>
      <pc:sldChg chg="addSp delSp modSp new mod modClrScheme chgLayout">
        <pc:chgData name="Luca Ricci" userId="ee5f09d5-0832-4e68-94c9-d8bfd2ad04f0" providerId="ADAL" clId="{D501E5E2-574F-6542-B665-A334471D5578}" dt="2023-12-18T18:15:49.461" v="11038" actId="1076"/>
        <pc:sldMkLst>
          <pc:docMk/>
          <pc:sldMk cId="2990945037" sldId="276"/>
        </pc:sldMkLst>
        <pc:spChg chg="mod ord">
          <ac:chgData name="Luca Ricci" userId="ee5f09d5-0832-4e68-94c9-d8bfd2ad04f0" providerId="ADAL" clId="{D501E5E2-574F-6542-B665-A334471D5578}" dt="2023-12-18T18:07:58.311" v="10941" actId="20577"/>
          <ac:spMkLst>
            <pc:docMk/>
            <pc:sldMk cId="2990945037" sldId="276"/>
            <ac:spMk id="2" creationId="{EE1181EE-E83B-E2B4-A8A2-9BD79BA62577}"/>
          </ac:spMkLst>
        </pc:spChg>
        <pc:spChg chg="mod ord">
          <ac:chgData name="Luca Ricci" userId="ee5f09d5-0832-4e68-94c9-d8bfd2ad04f0" providerId="ADAL" clId="{D501E5E2-574F-6542-B665-A334471D5578}" dt="2023-12-18T17:45:18.482" v="10533" actId="20577"/>
          <ac:spMkLst>
            <pc:docMk/>
            <pc:sldMk cId="2990945037" sldId="276"/>
            <ac:spMk id="3" creationId="{07C4FEEC-C7A9-340B-8522-6845D3F4141D}"/>
          </ac:spMkLst>
        </pc:spChg>
        <pc:spChg chg="mod ord">
          <ac:chgData name="Luca Ricci" userId="ee5f09d5-0832-4e68-94c9-d8bfd2ad04f0" providerId="ADAL" clId="{D501E5E2-574F-6542-B665-A334471D5578}" dt="2023-12-18T13:58:12.718" v="7688" actId="700"/>
          <ac:spMkLst>
            <pc:docMk/>
            <pc:sldMk cId="2990945037" sldId="276"/>
            <ac:spMk id="4" creationId="{E5A0E81E-6D21-B61E-5631-2BEC2A222BBF}"/>
          </ac:spMkLst>
        </pc:spChg>
        <pc:spChg chg="mod ord">
          <ac:chgData name="Luca Ricci" userId="ee5f09d5-0832-4e68-94c9-d8bfd2ad04f0" providerId="ADAL" clId="{D501E5E2-574F-6542-B665-A334471D5578}" dt="2023-12-18T13:58:12.718" v="7688" actId="700"/>
          <ac:spMkLst>
            <pc:docMk/>
            <pc:sldMk cId="2990945037" sldId="276"/>
            <ac:spMk id="5" creationId="{135546F5-012E-B2E0-37D5-9122D8A67012}"/>
          </ac:spMkLst>
        </pc:spChg>
        <pc:spChg chg="add del mod ord">
          <ac:chgData name="Luca Ricci" userId="ee5f09d5-0832-4e68-94c9-d8bfd2ad04f0" providerId="ADAL" clId="{D501E5E2-574F-6542-B665-A334471D5578}" dt="2023-12-18T18:05:57.120" v="10931" actId="931"/>
          <ac:spMkLst>
            <pc:docMk/>
            <pc:sldMk cId="2990945037" sldId="276"/>
            <ac:spMk id="6" creationId="{06F0CF48-24D4-ED7F-05FF-27F302068672}"/>
          </ac:spMkLst>
        </pc:spChg>
        <pc:spChg chg="add mod">
          <ac:chgData name="Luca Ricci" userId="ee5f09d5-0832-4e68-94c9-d8bfd2ad04f0" providerId="ADAL" clId="{D501E5E2-574F-6542-B665-A334471D5578}" dt="2023-12-18T18:15:49.461" v="11038" actId="1076"/>
          <ac:spMkLst>
            <pc:docMk/>
            <pc:sldMk cId="2990945037" sldId="276"/>
            <ac:spMk id="9" creationId="{2B908192-E5D1-45BD-65EF-316598CA9512}"/>
          </ac:spMkLst>
        </pc:spChg>
        <pc:picChg chg="add mod">
          <ac:chgData name="Luca Ricci" userId="ee5f09d5-0832-4e68-94c9-d8bfd2ad04f0" providerId="ADAL" clId="{D501E5E2-574F-6542-B665-A334471D5578}" dt="2023-12-18T18:06:36.956" v="10938" actId="1076"/>
          <ac:picMkLst>
            <pc:docMk/>
            <pc:sldMk cId="2990945037" sldId="276"/>
            <ac:picMk id="8" creationId="{8B5AF5C9-B484-5967-A46F-F80097891166}"/>
          </ac:picMkLst>
        </pc:picChg>
      </pc:sldChg>
      <pc:sldChg chg="addSp delSp modSp new del mod modClrScheme chgLayout">
        <pc:chgData name="Luca Ricci" userId="ee5f09d5-0832-4e68-94c9-d8bfd2ad04f0" providerId="ADAL" clId="{D501E5E2-574F-6542-B665-A334471D5578}" dt="2023-12-18T16:59:22.101" v="10276" actId="2696"/>
        <pc:sldMkLst>
          <pc:docMk/>
          <pc:sldMk cId="1441321396" sldId="277"/>
        </pc:sldMkLst>
        <pc:spChg chg="del mod ord">
          <ac:chgData name="Luca Ricci" userId="ee5f09d5-0832-4e68-94c9-d8bfd2ad04f0" providerId="ADAL" clId="{D501E5E2-574F-6542-B665-A334471D5578}" dt="2023-12-18T13:36:38.454" v="7532" actId="700"/>
          <ac:spMkLst>
            <pc:docMk/>
            <pc:sldMk cId="1441321396" sldId="277"/>
            <ac:spMk id="2" creationId="{10D35C28-7BEA-C8C3-2F6A-2AB96A4F5636}"/>
          </ac:spMkLst>
        </pc:spChg>
        <pc:spChg chg="del">
          <ac:chgData name="Luca Ricci" userId="ee5f09d5-0832-4e68-94c9-d8bfd2ad04f0" providerId="ADAL" clId="{D501E5E2-574F-6542-B665-A334471D5578}" dt="2023-12-18T13:36:38.454" v="7532" actId="700"/>
          <ac:spMkLst>
            <pc:docMk/>
            <pc:sldMk cId="1441321396" sldId="277"/>
            <ac:spMk id="3" creationId="{8D55E12B-0175-BE86-A6A8-FFA16CD88C4E}"/>
          </ac:spMkLst>
        </pc:spChg>
        <pc:spChg chg="del mod ord">
          <ac:chgData name="Luca Ricci" userId="ee5f09d5-0832-4e68-94c9-d8bfd2ad04f0" providerId="ADAL" clId="{D501E5E2-574F-6542-B665-A334471D5578}" dt="2023-12-18T13:36:38.454" v="7532" actId="700"/>
          <ac:spMkLst>
            <pc:docMk/>
            <pc:sldMk cId="1441321396" sldId="277"/>
            <ac:spMk id="4" creationId="{16CF110B-59A0-3EEC-CC69-465ED0B15B2E}"/>
          </ac:spMkLst>
        </pc:spChg>
        <pc:spChg chg="mod ord">
          <ac:chgData name="Luca Ricci" userId="ee5f09d5-0832-4e68-94c9-d8bfd2ad04f0" providerId="ADAL" clId="{D501E5E2-574F-6542-B665-A334471D5578}" dt="2023-12-18T13:36:38.454" v="7532" actId="700"/>
          <ac:spMkLst>
            <pc:docMk/>
            <pc:sldMk cId="1441321396" sldId="277"/>
            <ac:spMk id="5" creationId="{BF713C4A-3C6F-723F-2F39-B89A8E786379}"/>
          </ac:spMkLst>
        </pc:spChg>
        <pc:spChg chg="mod ord">
          <ac:chgData name="Luca Ricci" userId="ee5f09d5-0832-4e68-94c9-d8bfd2ad04f0" providerId="ADAL" clId="{D501E5E2-574F-6542-B665-A334471D5578}" dt="2023-12-18T13:36:38.454" v="7532" actId="700"/>
          <ac:spMkLst>
            <pc:docMk/>
            <pc:sldMk cId="1441321396" sldId="277"/>
            <ac:spMk id="6" creationId="{05284F73-5454-3A31-9518-8B0D121C3D2B}"/>
          </ac:spMkLst>
        </pc:spChg>
        <pc:spChg chg="add mod ord">
          <ac:chgData name="Luca Ricci" userId="ee5f09d5-0832-4e68-94c9-d8bfd2ad04f0" providerId="ADAL" clId="{D501E5E2-574F-6542-B665-A334471D5578}" dt="2023-12-18T16:32:49.707" v="9515" actId="20577"/>
          <ac:spMkLst>
            <pc:docMk/>
            <pc:sldMk cId="1441321396" sldId="277"/>
            <ac:spMk id="7" creationId="{45E90837-93DC-263A-637E-73E06C23CFAC}"/>
          </ac:spMkLst>
        </pc:spChg>
        <pc:spChg chg="add mod ord">
          <ac:chgData name="Luca Ricci" userId="ee5f09d5-0832-4e68-94c9-d8bfd2ad04f0" providerId="ADAL" clId="{D501E5E2-574F-6542-B665-A334471D5578}" dt="2023-12-18T15:41:03.045" v="9168" actId="20577"/>
          <ac:spMkLst>
            <pc:docMk/>
            <pc:sldMk cId="1441321396" sldId="277"/>
            <ac:spMk id="8" creationId="{1FDF8926-1A71-B433-141E-DFE40C5AA871}"/>
          </ac:spMkLst>
        </pc:spChg>
      </pc:sldChg>
      <pc:sldChg chg="addSp delSp modSp new mod modClrScheme chgLayout">
        <pc:chgData name="Luca Ricci" userId="ee5f09d5-0832-4e68-94c9-d8bfd2ad04f0" providerId="ADAL" clId="{D501E5E2-574F-6542-B665-A334471D5578}" dt="2023-12-18T16:52:09.850" v="10235" actId="20577"/>
        <pc:sldMkLst>
          <pc:docMk/>
          <pc:sldMk cId="4189800304" sldId="278"/>
        </pc:sldMkLst>
        <pc:spChg chg="del">
          <ac:chgData name="Luca Ricci" userId="ee5f09d5-0832-4e68-94c9-d8bfd2ad04f0" providerId="ADAL" clId="{D501E5E2-574F-6542-B665-A334471D5578}" dt="2023-12-18T13:44:35.520" v="7555" actId="700"/>
          <ac:spMkLst>
            <pc:docMk/>
            <pc:sldMk cId="4189800304" sldId="278"/>
            <ac:spMk id="2" creationId="{03CBAEEE-1DCC-183C-92D4-5C8230EA65EE}"/>
          </ac:spMkLst>
        </pc:spChg>
        <pc:spChg chg="del mod ord">
          <ac:chgData name="Luca Ricci" userId="ee5f09d5-0832-4e68-94c9-d8bfd2ad04f0" providerId="ADAL" clId="{D501E5E2-574F-6542-B665-A334471D5578}" dt="2023-12-18T13:44:35.520" v="7555" actId="700"/>
          <ac:spMkLst>
            <pc:docMk/>
            <pc:sldMk cId="4189800304" sldId="278"/>
            <ac:spMk id="3" creationId="{2EEEEEBE-81B5-B39B-25B2-144331766974}"/>
          </ac:spMkLst>
        </pc:spChg>
        <pc:spChg chg="mod ord">
          <ac:chgData name="Luca Ricci" userId="ee5f09d5-0832-4e68-94c9-d8bfd2ad04f0" providerId="ADAL" clId="{D501E5E2-574F-6542-B665-A334471D5578}" dt="2023-12-18T13:44:35.520" v="7555" actId="700"/>
          <ac:spMkLst>
            <pc:docMk/>
            <pc:sldMk cId="4189800304" sldId="278"/>
            <ac:spMk id="4" creationId="{BBCFA58C-3B32-944C-17DC-7DF429B8B8BE}"/>
          </ac:spMkLst>
        </pc:spChg>
        <pc:spChg chg="mod ord">
          <ac:chgData name="Luca Ricci" userId="ee5f09d5-0832-4e68-94c9-d8bfd2ad04f0" providerId="ADAL" clId="{D501E5E2-574F-6542-B665-A334471D5578}" dt="2023-12-18T13:44:35.520" v="7555" actId="700"/>
          <ac:spMkLst>
            <pc:docMk/>
            <pc:sldMk cId="4189800304" sldId="278"/>
            <ac:spMk id="5" creationId="{DD6E35ED-C859-283A-3E1E-8BD61035E2C9}"/>
          </ac:spMkLst>
        </pc:spChg>
        <pc:spChg chg="add mod ord">
          <ac:chgData name="Luca Ricci" userId="ee5f09d5-0832-4e68-94c9-d8bfd2ad04f0" providerId="ADAL" clId="{D501E5E2-574F-6542-B665-A334471D5578}" dt="2023-12-18T16:52:09.850" v="10235" actId="20577"/>
          <ac:spMkLst>
            <pc:docMk/>
            <pc:sldMk cId="4189800304" sldId="278"/>
            <ac:spMk id="6" creationId="{F01F8D75-610D-7A0C-3038-89746C951975}"/>
          </ac:spMkLst>
        </pc:spChg>
      </pc:sldChg>
      <pc:sldChg chg="modSp add mod">
        <pc:chgData name="Luca Ricci" userId="ee5f09d5-0832-4e68-94c9-d8bfd2ad04f0" providerId="ADAL" clId="{D501E5E2-574F-6542-B665-A334471D5578}" dt="2023-12-18T13:45:00.363" v="7598" actId="20577"/>
        <pc:sldMkLst>
          <pc:docMk/>
          <pc:sldMk cId="304618885" sldId="279"/>
        </pc:sldMkLst>
        <pc:spChg chg="mod">
          <ac:chgData name="Luca Ricci" userId="ee5f09d5-0832-4e68-94c9-d8bfd2ad04f0" providerId="ADAL" clId="{D501E5E2-574F-6542-B665-A334471D5578}" dt="2023-12-18T13:45:00.363" v="7598" actId="20577"/>
          <ac:spMkLst>
            <pc:docMk/>
            <pc:sldMk cId="304618885" sldId="279"/>
            <ac:spMk id="6" creationId="{F01F8D75-610D-7A0C-3038-89746C951975}"/>
          </ac:spMkLst>
        </pc:spChg>
      </pc:sldChg>
      <pc:sldChg chg="modSp add mod">
        <pc:chgData name="Luca Ricci" userId="ee5f09d5-0832-4e68-94c9-d8bfd2ad04f0" providerId="ADAL" clId="{D501E5E2-574F-6542-B665-A334471D5578}" dt="2023-12-18T13:45:16.801" v="7612" actId="20577"/>
        <pc:sldMkLst>
          <pc:docMk/>
          <pc:sldMk cId="3605496133" sldId="280"/>
        </pc:sldMkLst>
        <pc:spChg chg="mod">
          <ac:chgData name="Luca Ricci" userId="ee5f09d5-0832-4e68-94c9-d8bfd2ad04f0" providerId="ADAL" clId="{D501E5E2-574F-6542-B665-A334471D5578}" dt="2023-12-18T13:45:16.801" v="7612" actId="20577"/>
          <ac:spMkLst>
            <pc:docMk/>
            <pc:sldMk cId="3605496133" sldId="280"/>
            <ac:spMk id="6" creationId="{F01F8D75-610D-7A0C-3038-89746C951975}"/>
          </ac:spMkLst>
        </pc:spChg>
      </pc:sldChg>
      <pc:sldChg chg="modSp add mod">
        <pc:chgData name="Luca Ricci" userId="ee5f09d5-0832-4e68-94c9-d8bfd2ad04f0" providerId="ADAL" clId="{D501E5E2-574F-6542-B665-A334471D5578}" dt="2023-12-18T13:45:39.844" v="7633" actId="20577"/>
        <pc:sldMkLst>
          <pc:docMk/>
          <pc:sldMk cId="335704528" sldId="281"/>
        </pc:sldMkLst>
        <pc:spChg chg="mod">
          <ac:chgData name="Luca Ricci" userId="ee5f09d5-0832-4e68-94c9-d8bfd2ad04f0" providerId="ADAL" clId="{D501E5E2-574F-6542-B665-A334471D5578}" dt="2023-12-18T13:45:39.844" v="7633" actId="20577"/>
          <ac:spMkLst>
            <pc:docMk/>
            <pc:sldMk cId="335704528" sldId="281"/>
            <ac:spMk id="6" creationId="{F01F8D75-610D-7A0C-3038-89746C951975}"/>
          </ac:spMkLst>
        </pc:spChg>
      </pc:sldChg>
      <pc:sldChg chg="addSp modSp new mod ord">
        <pc:chgData name="Luca Ricci" userId="ee5f09d5-0832-4e68-94c9-d8bfd2ad04f0" providerId="ADAL" clId="{D501E5E2-574F-6542-B665-A334471D5578}" dt="2023-12-18T18:16:36.935" v="11044" actId="20577"/>
        <pc:sldMkLst>
          <pc:docMk/>
          <pc:sldMk cId="2523226674" sldId="282"/>
        </pc:sldMkLst>
        <pc:spChg chg="mod">
          <ac:chgData name="Luca Ricci" userId="ee5f09d5-0832-4e68-94c9-d8bfd2ad04f0" providerId="ADAL" clId="{D501E5E2-574F-6542-B665-A334471D5578}" dt="2023-12-18T17:51:13.830" v="10919" actId="20577"/>
          <ac:spMkLst>
            <pc:docMk/>
            <pc:sldMk cId="2523226674" sldId="282"/>
            <ac:spMk id="2" creationId="{8386E694-5EF7-1618-ACF4-DC987BEF617D}"/>
          </ac:spMkLst>
        </pc:spChg>
        <pc:spChg chg="mod">
          <ac:chgData name="Luca Ricci" userId="ee5f09d5-0832-4e68-94c9-d8bfd2ad04f0" providerId="ADAL" clId="{D501E5E2-574F-6542-B665-A334471D5578}" dt="2023-12-18T18:16:36.935" v="11044" actId="20577"/>
          <ac:spMkLst>
            <pc:docMk/>
            <pc:sldMk cId="2523226674" sldId="282"/>
            <ac:spMk id="3" creationId="{01D288B1-15CE-766C-62CA-8CB12FDF2102}"/>
          </ac:spMkLst>
        </pc:spChg>
        <pc:graphicFrameChg chg="add mod modGraphic">
          <ac:chgData name="Luca Ricci" userId="ee5f09d5-0832-4e68-94c9-d8bfd2ad04f0" providerId="ADAL" clId="{D501E5E2-574F-6542-B665-A334471D5578}" dt="2023-12-18T17:56:05.415" v="10924" actId="1076"/>
          <ac:graphicFrameMkLst>
            <pc:docMk/>
            <pc:sldMk cId="2523226674" sldId="282"/>
            <ac:graphicFrameMk id="6" creationId="{8A327F37-EAAA-5135-6A38-15567E3115EA}"/>
          </ac:graphicFrameMkLst>
        </pc:graphicFrameChg>
      </pc:sldChg>
      <pc:sldChg chg="addSp delSp modSp add mod modClrScheme chgLayout">
        <pc:chgData name="Luca Ricci" userId="ee5f09d5-0832-4e68-94c9-d8bfd2ad04f0" providerId="ADAL" clId="{D501E5E2-574F-6542-B665-A334471D5578}" dt="2023-12-18T18:12:30.611" v="11007" actId="20577"/>
        <pc:sldMkLst>
          <pc:docMk/>
          <pc:sldMk cId="2709073556" sldId="283"/>
        </pc:sldMkLst>
        <pc:spChg chg="add del mod ord">
          <ac:chgData name="Luca Ricci" userId="ee5f09d5-0832-4e68-94c9-d8bfd2ad04f0" providerId="ADAL" clId="{D501E5E2-574F-6542-B665-A334471D5578}" dt="2023-12-18T16:59:37.367" v="10277" actId="478"/>
          <ac:spMkLst>
            <pc:docMk/>
            <pc:sldMk cId="2709073556" sldId="283"/>
            <ac:spMk id="2" creationId="{0E2AD25D-C553-7C8F-6773-356419E96625}"/>
          </ac:spMkLst>
        </pc:spChg>
        <pc:spChg chg="mod ord">
          <ac:chgData name="Luca Ricci" userId="ee5f09d5-0832-4e68-94c9-d8bfd2ad04f0" providerId="ADAL" clId="{D501E5E2-574F-6542-B665-A334471D5578}" dt="2023-12-18T14:42:44.404" v="8434" actId="700"/>
          <ac:spMkLst>
            <pc:docMk/>
            <pc:sldMk cId="2709073556" sldId="283"/>
            <ac:spMk id="5" creationId="{BF713C4A-3C6F-723F-2F39-B89A8E786379}"/>
          </ac:spMkLst>
        </pc:spChg>
        <pc:spChg chg="mod ord">
          <ac:chgData name="Luca Ricci" userId="ee5f09d5-0832-4e68-94c9-d8bfd2ad04f0" providerId="ADAL" clId="{D501E5E2-574F-6542-B665-A334471D5578}" dt="2023-12-18T14:42:44.404" v="8434" actId="700"/>
          <ac:spMkLst>
            <pc:docMk/>
            <pc:sldMk cId="2709073556" sldId="283"/>
            <ac:spMk id="6" creationId="{05284F73-5454-3A31-9518-8B0D121C3D2B}"/>
          </ac:spMkLst>
        </pc:spChg>
        <pc:spChg chg="mod ord">
          <ac:chgData name="Luca Ricci" userId="ee5f09d5-0832-4e68-94c9-d8bfd2ad04f0" providerId="ADAL" clId="{D501E5E2-574F-6542-B665-A334471D5578}" dt="2023-12-18T18:12:30.611" v="11007" actId="20577"/>
          <ac:spMkLst>
            <pc:docMk/>
            <pc:sldMk cId="2709073556" sldId="283"/>
            <ac:spMk id="7" creationId="{45E90837-93DC-263A-637E-73E06C23CFAC}"/>
          </ac:spMkLst>
        </pc:spChg>
        <pc:spChg chg="mod ord">
          <ac:chgData name="Luca Ricci" userId="ee5f09d5-0832-4e68-94c9-d8bfd2ad04f0" providerId="ADAL" clId="{D501E5E2-574F-6542-B665-A334471D5578}" dt="2023-12-18T15:11:36.185" v="8654" actId="20577"/>
          <ac:spMkLst>
            <pc:docMk/>
            <pc:sldMk cId="2709073556" sldId="283"/>
            <ac:spMk id="8" creationId="{1FDF8926-1A71-B433-141E-DFE40C5AA871}"/>
          </ac:spMkLst>
        </pc:spChg>
      </pc:sldChg>
      <pc:sldChg chg="addSp delSp modSp add del mod modClrScheme chgLayout">
        <pc:chgData name="Luca Ricci" userId="ee5f09d5-0832-4e68-94c9-d8bfd2ad04f0" providerId="ADAL" clId="{D501E5E2-574F-6542-B665-A334471D5578}" dt="2023-12-18T14:46:22.854" v="8486" actId="2696"/>
        <pc:sldMkLst>
          <pc:docMk/>
          <pc:sldMk cId="115516131" sldId="284"/>
        </pc:sldMkLst>
        <pc:spChg chg="add del mod ord">
          <ac:chgData name="Luca Ricci" userId="ee5f09d5-0832-4e68-94c9-d8bfd2ad04f0" providerId="ADAL" clId="{D501E5E2-574F-6542-B665-A334471D5578}" dt="2023-12-18T14:44:45.768" v="8467" actId="1076"/>
          <ac:spMkLst>
            <pc:docMk/>
            <pc:sldMk cId="115516131" sldId="284"/>
            <ac:spMk id="2" creationId="{9330A689-5969-4492-9955-95B2173CF5E7}"/>
          </ac:spMkLst>
        </pc:spChg>
        <pc:spChg chg="mod ord">
          <ac:chgData name="Luca Ricci" userId="ee5f09d5-0832-4e68-94c9-d8bfd2ad04f0" providerId="ADAL" clId="{D501E5E2-574F-6542-B665-A334471D5578}" dt="2023-12-18T14:43:26.666" v="8451" actId="700"/>
          <ac:spMkLst>
            <pc:docMk/>
            <pc:sldMk cId="115516131" sldId="284"/>
            <ac:spMk id="5" creationId="{BF713C4A-3C6F-723F-2F39-B89A8E786379}"/>
          </ac:spMkLst>
        </pc:spChg>
        <pc:spChg chg="mod ord">
          <ac:chgData name="Luca Ricci" userId="ee5f09d5-0832-4e68-94c9-d8bfd2ad04f0" providerId="ADAL" clId="{D501E5E2-574F-6542-B665-A334471D5578}" dt="2023-12-18T14:43:26.666" v="8451" actId="700"/>
          <ac:spMkLst>
            <pc:docMk/>
            <pc:sldMk cId="115516131" sldId="284"/>
            <ac:spMk id="6" creationId="{05284F73-5454-3A31-9518-8B0D121C3D2B}"/>
          </ac:spMkLst>
        </pc:spChg>
        <pc:spChg chg="mod ord">
          <ac:chgData name="Luca Ricci" userId="ee5f09d5-0832-4e68-94c9-d8bfd2ad04f0" providerId="ADAL" clId="{D501E5E2-574F-6542-B665-A334471D5578}" dt="2023-12-18T14:45:01.772" v="8470" actId="20577"/>
          <ac:spMkLst>
            <pc:docMk/>
            <pc:sldMk cId="115516131" sldId="284"/>
            <ac:spMk id="7" creationId="{45E90837-93DC-263A-637E-73E06C23CFAC}"/>
          </ac:spMkLst>
        </pc:spChg>
        <pc:spChg chg="del mod ord">
          <ac:chgData name="Luca Ricci" userId="ee5f09d5-0832-4e68-94c9-d8bfd2ad04f0" providerId="ADAL" clId="{D501E5E2-574F-6542-B665-A334471D5578}" dt="2023-12-18T14:44:08.432" v="8462" actId="478"/>
          <ac:spMkLst>
            <pc:docMk/>
            <pc:sldMk cId="115516131" sldId="284"/>
            <ac:spMk id="8" creationId="{1FDF8926-1A71-B433-141E-DFE40C5AA871}"/>
          </ac:spMkLst>
        </pc:spChg>
        <pc:spChg chg="add del mod">
          <ac:chgData name="Luca Ricci" userId="ee5f09d5-0832-4e68-94c9-d8bfd2ad04f0" providerId="ADAL" clId="{D501E5E2-574F-6542-B665-A334471D5578}" dt="2023-12-18T14:44:15.987" v="8463" actId="931"/>
          <ac:spMkLst>
            <pc:docMk/>
            <pc:sldMk cId="115516131" sldId="284"/>
            <ac:spMk id="10" creationId="{E8B96778-7694-4BA2-7C55-95EDCBB929C5}"/>
          </ac:spMkLst>
        </pc:spChg>
        <pc:picChg chg="add mod">
          <ac:chgData name="Luca Ricci" userId="ee5f09d5-0832-4e68-94c9-d8bfd2ad04f0" providerId="ADAL" clId="{D501E5E2-574F-6542-B665-A334471D5578}" dt="2023-12-18T14:43:57.027" v="8459" actId="931"/>
          <ac:picMkLst>
            <pc:docMk/>
            <pc:sldMk cId="115516131" sldId="284"/>
            <ac:picMk id="4" creationId="{DA3513E2-F125-260B-6DC7-3ECE2ADDF17D}"/>
          </ac:picMkLst>
        </pc:picChg>
        <pc:picChg chg="add mod">
          <ac:chgData name="Luca Ricci" userId="ee5f09d5-0832-4e68-94c9-d8bfd2ad04f0" providerId="ADAL" clId="{D501E5E2-574F-6542-B665-A334471D5578}" dt="2023-12-18T14:44:26.894" v="8466" actId="1076"/>
          <ac:picMkLst>
            <pc:docMk/>
            <pc:sldMk cId="115516131" sldId="284"/>
            <ac:picMk id="12" creationId="{36A28968-9076-A795-5DE3-D56DCCC6314C}"/>
          </ac:picMkLst>
        </pc:picChg>
      </pc:sldChg>
      <pc:sldChg chg="addSp delSp modSp add mod modClrScheme chgLayout">
        <pc:chgData name="Luca Ricci" userId="ee5f09d5-0832-4e68-94c9-d8bfd2ad04f0" providerId="ADAL" clId="{D501E5E2-574F-6542-B665-A334471D5578}" dt="2023-12-18T17:00:08.348" v="10284" actId="20577"/>
        <pc:sldMkLst>
          <pc:docMk/>
          <pc:sldMk cId="3067180519" sldId="284"/>
        </pc:sldMkLst>
        <pc:spChg chg="mod ord">
          <ac:chgData name="Luca Ricci" userId="ee5f09d5-0832-4e68-94c9-d8bfd2ad04f0" providerId="ADAL" clId="{D501E5E2-574F-6542-B665-A334471D5578}" dt="2023-12-18T17:00:08.348" v="10284" actId="20577"/>
          <ac:spMkLst>
            <pc:docMk/>
            <pc:sldMk cId="3067180519" sldId="284"/>
            <ac:spMk id="2" creationId="{96B142A3-3E18-4302-85FC-39EF0216B791}"/>
          </ac:spMkLst>
        </pc:spChg>
        <pc:spChg chg="add del mod">
          <ac:chgData name="Luca Ricci" userId="ee5f09d5-0832-4e68-94c9-d8bfd2ad04f0" providerId="ADAL" clId="{D501E5E2-574F-6542-B665-A334471D5578}" dt="2023-12-18T14:52:27.109" v="8495" actId="478"/>
          <ac:spMkLst>
            <pc:docMk/>
            <pc:sldMk cId="3067180519" sldId="284"/>
            <ac:spMk id="3" creationId="{8018C54F-F487-F048-D0F2-C28E84DCC4B9}"/>
          </ac:spMkLst>
        </pc:spChg>
        <pc:spChg chg="add del mod">
          <ac:chgData name="Luca Ricci" userId="ee5f09d5-0832-4e68-94c9-d8bfd2ad04f0" providerId="ADAL" clId="{D501E5E2-574F-6542-B665-A334471D5578}" dt="2023-12-18T14:54:54.981" v="8520" actId="931"/>
          <ac:spMkLst>
            <pc:docMk/>
            <pc:sldMk cId="3067180519" sldId="284"/>
            <ac:spMk id="5" creationId="{CB20D547-8C0C-C39B-D76C-DC706BF59521}"/>
          </ac:spMkLst>
        </pc:spChg>
        <pc:spChg chg="add mod">
          <ac:chgData name="Luca Ricci" userId="ee5f09d5-0832-4e68-94c9-d8bfd2ad04f0" providerId="ADAL" clId="{D501E5E2-574F-6542-B665-A334471D5578}" dt="2023-12-18T14:57:27.037" v="8549" actId="1076"/>
          <ac:spMkLst>
            <pc:docMk/>
            <pc:sldMk cId="3067180519" sldId="284"/>
            <ac:spMk id="8" creationId="{B4335C91-4C96-6D29-367B-868F995E5876}"/>
          </ac:spMkLst>
        </pc:spChg>
        <pc:spChg chg="add mod">
          <ac:chgData name="Luca Ricci" userId="ee5f09d5-0832-4e68-94c9-d8bfd2ad04f0" providerId="ADAL" clId="{D501E5E2-574F-6542-B665-A334471D5578}" dt="2023-12-18T15:16:08.016" v="8665" actId="1076"/>
          <ac:spMkLst>
            <pc:docMk/>
            <pc:sldMk cId="3067180519" sldId="284"/>
            <ac:spMk id="9" creationId="{08FB12AA-415E-766F-FA60-DFFB61A07CE6}"/>
          </ac:spMkLst>
        </pc:spChg>
        <pc:spChg chg="del mod">
          <ac:chgData name="Luca Ricci" userId="ee5f09d5-0832-4e68-94c9-d8bfd2ad04f0" providerId="ADAL" clId="{D501E5E2-574F-6542-B665-A334471D5578}" dt="2023-12-18T14:57:08.039" v="8544" actId="478"/>
          <ac:spMkLst>
            <pc:docMk/>
            <pc:sldMk cId="3067180519" sldId="284"/>
            <ac:spMk id="10" creationId="{5A82A501-62D7-BA88-FCEA-42DF25F31526}"/>
          </ac:spMkLst>
        </pc:spChg>
        <pc:spChg chg="add mod">
          <ac:chgData name="Luca Ricci" userId="ee5f09d5-0832-4e68-94c9-d8bfd2ad04f0" providerId="ADAL" clId="{D501E5E2-574F-6542-B665-A334471D5578}" dt="2023-12-18T15:16:06.290" v="8664" actId="1076"/>
          <ac:spMkLst>
            <pc:docMk/>
            <pc:sldMk cId="3067180519" sldId="284"/>
            <ac:spMk id="11" creationId="{3C8B4FD3-7100-3379-6BFC-F10B06623988}"/>
          </ac:spMkLst>
        </pc:spChg>
        <pc:spChg chg="add mod">
          <ac:chgData name="Luca Ricci" userId="ee5f09d5-0832-4e68-94c9-d8bfd2ad04f0" providerId="ADAL" clId="{D501E5E2-574F-6542-B665-A334471D5578}" dt="2023-12-18T14:57:46.248" v="8554" actId="1076"/>
          <ac:spMkLst>
            <pc:docMk/>
            <pc:sldMk cId="3067180519" sldId="284"/>
            <ac:spMk id="12" creationId="{385FE691-C6CA-4A9C-64AC-71CEDEBA8FD8}"/>
          </ac:spMkLst>
        </pc:spChg>
        <pc:spChg chg="add del mod">
          <ac:chgData name="Luca Ricci" userId="ee5f09d5-0832-4e68-94c9-d8bfd2ad04f0" providerId="ADAL" clId="{D501E5E2-574F-6542-B665-A334471D5578}" dt="2023-12-18T14:57:12.827" v="8545" actId="700"/>
          <ac:spMkLst>
            <pc:docMk/>
            <pc:sldMk cId="3067180519" sldId="284"/>
            <ac:spMk id="14" creationId="{0C04A4EA-3E36-156D-B0F7-3B51132B6E75}"/>
          </ac:spMkLst>
        </pc:spChg>
        <pc:spChg chg="add del mod">
          <ac:chgData name="Luca Ricci" userId="ee5f09d5-0832-4e68-94c9-d8bfd2ad04f0" providerId="ADAL" clId="{D501E5E2-574F-6542-B665-A334471D5578}" dt="2023-12-18T14:58:37.732" v="8577" actId="478"/>
          <ac:spMkLst>
            <pc:docMk/>
            <pc:sldMk cId="3067180519" sldId="284"/>
            <ac:spMk id="15" creationId="{A574FDDC-00C8-7A3C-322D-790D42F8459C}"/>
          </ac:spMkLst>
        </pc:spChg>
        <pc:spChg chg="add mod">
          <ac:chgData name="Luca Ricci" userId="ee5f09d5-0832-4e68-94c9-d8bfd2ad04f0" providerId="ADAL" clId="{D501E5E2-574F-6542-B665-A334471D5578}" dt="2023-12-18T14:58:36.489" v="8576" actId="1076"/>
          <ac:spMkLst>
            <pc:docMk/>
            <pc:sldMk cId="3067180519" sldId="284"/>
            <ac:spMk id="17" creationId="{6E6E657B-03B6-CD6E-C18A-A36B16B6166E}"/>
          </ac:spMkLst>
        </pc:spChg>
        <pc:spChg chg="add mod">
          <ac:chgData name="Luca Ricci" userId="ee5f09d5-0832-4e68-94c9-d8bfd2ad04f0" providerId="ADAL" clId="{D501E5E2-574F-6542-B665-A334471D5578}" dt="2023-12-18T15:41:49.380" v="9170" actId="1076"/>
          <ac:spMkLst>
            <pc:docMk/>
            <pc:sldMk cId="3067180519" sldId="284"/>
            <ac:spMk id="18" creationId="{EC14E028-47A8-3F77-E61A-A9C247CAE17A}"/>
          </ac:spMkLst>
        </pc:spChg>
        <pc:spChg chg="add mod">
          <ac:chgData name="Luca Ricci" userId="ee5f09d5-0832-4e68-94c9-d8bfd2ad04f0" providerId="ADAL" clId="{D501E5E2-574F-6542-B665-A334471D5578}" dt="2023-12-18T15:00:08.514" v="8588" actId="1076"/>
          <ac:spMkLst>
            <pc:docMk/>
            <pc:sldMk cId="3067180519" sldId="284"/>
            <ac:spMk id="19" creationId="{F7924BD0-A860-D75C-F27F-432350D356EF}"/>
          </ac:spMkLst>
        </pc:spChg>
        <pc:spChg chg="add mod">
          <ac:chgData name="Luca Ricci" userId="ee5f09d5-0832-4e68-94c9-d8bfd2ad04f0" providerId="ADAL" clId="{D501E5E2-574F-6542-B665-A334471D5578}" dt="2023-12-18T15:00:53.920" v="8600" actId="14100"/>
          <ac:spMkLst>
            <pc:docMk/>
            <pc:sldMk cId="3067180519" sldId="284"/>
            <ac:spMk id="20" creationId="{2F5F9B3C-0A22-8977-02F4-B7DC19A8CA13}"/>
          </ac:spMkLst>
        </pc:spChg>
        <pc:spChg chg="add mod">
          <ac:chgData name="Luca Ricci" userId="ee5f09d5-0832-4e68-94c9-d8bfd2ad04f0" providerId="ADAL" clId="{D501E5E2-574F-6542-B665-A334471D5578}" dt="2023-12-18T15:00:48.734" v="8599" actId="1076"/>
          <ac:spMkLst>
            <pc:docMk/>
            <pc:sldMk cId="3067180519" sldId="284"/>
            <ac:spMk id="21" creationId="{8E0EDE74-9318-2E12-4253-34A547DD9650}"/>
          </ac:spMkLst>
        </pc:spChg>
        <pc:spChg chg="add del mod">
          <ac:chgData name="Luca Ricci" userId="ee5f09d5-0832-4e68-94c9-d8bfd2ad04f0" providerId="ADAL" clId="{D501E5E2-574F-6542-B665-A334471D5578}" dt="2023-12-18T15:15:32.461" v="8658" actId="700"/>
          <ac:spMkLst>
            <pc:docMk/>
            <pc:sldMk cId="3067180519" sldId="284"/>
            <ac:spMk id="25" creationId="{08074358-603A-092C-DE84-E5810CE6204D}"/>
          </ac:spMkLst>
        </pc:spChg>
        <pc:spChg chg="add mod">
          <ac:chgData name="Luca Ricci" userId="ee5f09d5-0832-4e68-94c9-d8bfd2ad04f0" providerId="ADAL" clId="{D501E5E2-574F-6542-B665-A334471D5578}" dt="2023-12-18T15:16:23.454" v="8669" actId="1076"/>
          <ac:spMkLst>
            <pc:docMk/>
            <pc:sldMk cId="3067180519" sldId="284"/>
            <ac:spMk id="26" creationId="{8D070337-FA53-CE7E-31BC-94735CFCB9F9}"/>
          </ac:spMkLst>
        </pc:spChg>
        <pc:spChg chg="add mod">
          <ac:chgData name="Luca Ricci" userId="ee5f09d5-0832-4e68-94c9-d8bfd2ad04f0" providerId="ADAL" clId="{D501E5E2-574F-6542-B665-A334471D5578}" dt="2023-12-18T15:16:20.374" v="8668"/>
          <ac:spMkLst>
            <pc:docMk/>
            <pc:sldMk cId="3067180519" sldId="284"/>
            <ac:spMk id="27" creationId="{65A7E454-54FA-BF83-F5BD-7951A7BCA189}"/>
          </ac:spMkLst>
        </pc:spChg>
        <pc:spChg chg="add mod">
          <ac:chgData name="Luca Ricci" userId="ee5f09d5-0832-4e68-94c9-d8bfd2ad04f0" providerId="ADAL" clId="{D501E5E2-574F-6542-B665-A334471D5578}" dt="2023-12-18T15:16:48.542" v="8671" actId="1076"/>
          <ac:spMkLst>
            <pc:docMk/>
            <pc:sldMk cId="3067180519" sldId="284"/>
            <ac:spMk id="28" creationId="{85FE7B0F-336C-5474-8DA5-E45BFBD4847E}"/>
          </ac:spMkLst>
        </pc:spChg>
        <pc:spChg chg="add mod">
          <ac:chgData name="Luca Ricci" userId="ee5f09d5-0832-4e68-94c9-d8bfd2ad04f0" providerId="ADAL" clId="{D501E5E2-574F-6542-B665-A334471D5578}" dt="2023-12-18T15:18:00.680" v="8682" actId="1076"/>
          <ac:spMkLst>
            <pc:docMk/>
            <pc:sldMk cId="3067180519" sldId="284"/>
            <ac:spMk id="29" creationId="{09C60E09-80B1-1CE7-2BDA-49AC365FCB16}"/>
          </ac:spMkLst>
        </pc:spChg>
        <pc:spChg chg="add mod">
          <ac:chgData name="Luca Ricci" userId="ee5f09d5-0832-4e68-94c9-d8bfd2ad04f0" providerId="ADAL" clId="{D501E5E2-574F-6542-B665-A334471D5578}" dt="2023-12-18T15:41:52.753" v="9171" actId="1076"/>
          <ac:spMkLst>
            <pc:docMk/>
            <pc:sldMk cId="3067180519" sldId="284"/>
            <ac:spMk id="30" creationId="{942005E4-C945-D9E3-2D63-03456832886E}"/>
          </ac:spMkLst>
        </pc:spChg>
        <pc:picChg chg="add del mod ord">
          <ac:chgData name="Luca Ricci" userId="ee5f09d5-0832-4e68-94c9-d8bfd2ad04f0" providerId="ADAL" clId="{D501E5E2-574F-6542-B665-A334471D5578}" dt="2023-12-18T15:15:22.047" v="8657" actId="478"/>
          <ac:picMkLst>
            <pc:docMk/>
            <pc:sldMk cId="3067180519" sldId="284"/>
            <ac:picMk id="7" creationId="{A432BBB0-D5B9-B07F-DD00-F452DA1E23E0}"/>
          </ac:picMkLst>
        </pc:picChg>
        <pc:picChg chg="del">
          <ac:chgData name="Luca Ricci" userId="ee5f09d5-0832-4e68-94c9-d8bfd2ad04f0" providerId="ADAL" clId="{D501E5E2-574F-6542-B665-A334471D5578}" dt="2023-12-18T14:54:39.150" v="8519" actId="478"/>
          <ac:picMkLst>
            <pc:docMk/>
            <pc:sldMk cId="3067180519" sldId="284"/>
            <ac:picMk id="16" creationId="{69C012A2-2CBB-CC32-EDF2-0B6DFA6D9245}"/>
          </ac:picMkLst>
        </pc:picChg>
        <pc:picChg chg="add mod">
          <ac:chgData name="Luca Ricci" userId="ee5f09d5-0832-4e68-94c9-d8bfd2ad04f0" providerId="ADAL" clId="{D501E5E2-574F-6542-B665-A334471D5578}" dt="2023-12-18T15:15:58.229" v="8663" actId="1076"/>
          <ac:picMkLst>
            <pc:docMk/>
            <pc:sldMk cId="3067180519" sldId="284"/>
            <ac:picMk id="23" creationId="{76C3C410-CCB3-F38C-C2A9-B2A176F696DD}"/>
          </ac:picMkLst>
        </pc:picChg>
      </pc:sldChg>
      <pc:sldChg chg="addSp delSp modSp new mod modClrScheme chgLayout">
        <pc:chgData name="Luca Ricci" userId="ee5f09d5-0832-4e68-94c9-d8bfd2ad04f0" providerId="ADAL" clId="{D501E5E2-574F-6542-B665-A334471D5578}" dt="2023-12-18T17:01:18.783" v="10324" actId="20577"/>
        <pc:sldMkLst>
          <pc:docMk/>
          <pc:sldMk cId="4096381590" sldId="285"/>
        </pc:sldMkLst>
        <pc:spChg chg="del">
          <ac:chgData name="Luca Ricci" userId="ee5f09d5-0832-4e68-94c9-d8bfd2ad04f0" providerId="ADAL" clId="{D501E5E2-574F-6542-B665-A334471D5578}" dt="2023-12-18T15:06:57.324" v="8601" actId="700"/>
          <ac:spMkLst>
            <pc:docMk/>
            <pc:sldMk cId="4096381590" sldId="285"/>
            <ac:spMk id="2" creationId="{27353959-EBC4-689F-B90F-72FD4E26F624}"/>
          </ac:spMkLst>
        </pc:spChg>
        <pc:spChg chg="del">
          <ac:chgData name="Luca Ricci" userId="ee5f09d5-0832-4e68-94c9-d8bfd2ad04f0" providerId="ADAL" clId="{D501E5E2-574F-6542-B665-A334471D5578}" dt="2023-12-18T15:06:57.324" v="8601" actId="700"/>
          <ac:spMkLst>
            <pc:docMk/>
            <pc:sldMk cId="4096381590" sldId="285"/>
            <ac:spMk id="3" creationId="{DA3AE260-DA1B-23C1-A522-6EBA5B368ED0}"/>
          </ac:spMkLst>
        </pc:spChg>
        <pc:spChg chg="del mod ord">
          <ac:chgData name="Luca Ricci" userId="ee5f09d5-0832-4e68-94c9-d8bfd2ad04f0" providerId="ADAL" clId="{D501E5E2-574F-6542-B665-A334471D5578}" dt="2023-12-18T15:06:57.324" v="8601" actId="700"/>
          <ac:spMkLst>
            <pc:docMk/>
            <pc:sldMk cId="4096381590" sldId="285"/>
            <ac:spMk id="4" creationId="{855EAD17-B90F-F299-5F24-DF716233E0C5}"/>
          </ac:spMkLst>
        </pc:spChg>
        <pc:spChg chg="mod ord">
          <ac:chgData name="Luca Ricci" userId="ee5f09d5-0832-4e68-94c9-d8bfd2ad04f0" providerId="ADAL" clId="{D501E5E2-574F-6542-B665-A334471D5578}" dt="2023-12-18T15:07:00.129" v="8602" actId="700"/>
          <ac:spMkLst>
            <pc:docMk/>
            <pc:sldMk cId="4096381590" sldId="285"/>
            <ac:spMk id="5" creationId="{BF8D9A4E-3C0D-8065-0784-B25B4B7E4853}"/>
          </ac:spMkLst>
        </pc:spChg>
        <pc:spChg chg="mod ord">
          <ac:chgData name="Luca Ricci" userId="ee5f09d5-0832-4e68-94c9-d8bfd2ad04f0" providerId="ADAL" clId="{D501E5E2-574F-6542-B665-A334471D5578}" dt="2023-12-18T15:07:00.129" v="8602" actId="700"/>
          <ac:spMkLst>
            <pc:docMk/>
            <pc:sldMk cId="4096381590" sldId="285"/>
            <ac:spMk id="6" creationId="{B15837DB-C21D-7710-3A22-092C9B85D619}"/>
          </ac:spMkLst>
        </pc:spChg>
        <pc:spChg chg="add del mod ord">
          <ac:chgData name="Luca Ricci" userId="ee5f09d5-0832-4e68-94c9-d8bfd2ad04f0" providerId="ADAL" clId="{D501E5E2-574F-6542-B665-A334471D5578}" dt="2023-12-18T15:07:00.129" v="8602" actId="700"/>
          <ac:spMkLst>
            <pc:docMk/>
            <pc:sldMk cId="4096381590" sldId="285"/>
            <ac:spMk id="7" creationId="{6690EEAA-779C-E791-DDB3-875BC03AA9CC}"/>
          </ac:spMkLst>
        </pc:spChg>
        <pc:spChg chg="add mod ord">
          <ac:chgData name="Luca Ricci" userId="ee5f09d5-0832-4e68-94c9-d8bfd2ad04f0" providerId="ADAL" clId="{D501E5E2-574F-6542-B665-A334471D5578}" dt="2023-12-18T17:00:33.351" v="10302" actId="20577"/>
          <ac:spMkLst>
            <pc:docMk/>
            <pc:sldMk cId="4096381590" sldId="285"/>
            <ac:spMk id="8" creationId="{D2C75C14-A911-C389-6154-8D4483E3A06D}"/>
          </ac:spMkLst>
        </pc:spChg>
        <pc:spChg chg="add del mod ord">
          <ac:chgData name="Luca Ricci" userId="ee5f09d5-0832-4e68-94c9-d8bfd2ad04f0" providerId="ADAL" clId="{D501E5E2-574F-6542-B665-A334471D5578}" dt="2023-12-18T15:07:25.343" v="8626" actId="931"/>
          <ac:spMkLst>
            <pc:docMk/>
            <pc:sldMk cId="4096381590" sldId="285"/>
            <ac:spMk id="9" creationId="{0610D3B9-3E33-168A-7513-75513A9C3F81}"/>
          </ac:spMkLst>
        </pc:spChg>
        <pc:spChg chg="add del mod">
          <ac:chgData name="Luca Ricci" userId="ee5f09d5-0832-4e68-94c9-d8bfd2ad04f0" providerId="ADAL" clId="{D501E5E2-574F-6542-B665-A334471D5578}" dt="2023-12-18T15:08:06.834" v="8632" actId="478"/>
          <ac:spMkLst>
            <pc:docMk/>
            <pc:sldMk cId="4096381590" sldId="285"/>
            <ac:spMk id="12" creationId="{4216D693-D330-D707-DC37-9EC364EDAE86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3" creationId="{D75B17AE-BA3E-436A-071D-4B071130CBF4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4" creationId="{5C5F0634-FE9D-D290-8166-364060948F8E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5" creationId="{521532A9-523F-99ED-5939-21A7E6E5666D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6" creationId="{DBBBBEF7-C06B-C652-A92A-D546FD7BB3AC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7" creationId="{767EAA32-3809-8A3D-A9BD-E4D2FAA894E4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8" creationId="{B452B91A-3ECE-59CC-B6F2-0B27BA54EDE0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9" creationId="{A151F020-1ECC-16CD-F597-6966B15F85FE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20" creationId="{E0550366-571B-A409-6ADA-C63F55724987}"/>
          </ac:spMkLst>
        </pc:spChg>
        <pc:spChg chg="add mod">
          <ac:chgData name="Luca Ricci" userId="ee5f09d5-0832-4e68-94c9-d8bfd2ad04f0" providerId="ADAL" clId="{D501E5E2-574F-6542-B665-A334471D5578}" dt="2023-12-18T17:01:18.783" v="10324" actId="20577"/>
          <ac:spMkLst>
            <pc:docMk/>
            <pc:sldMk cId="4096381590" sldId="285"/>
            <ac:spMk id="21" creationId="{52A12BF5-E93B-31F3-D250-9B4517CF2987}"/>
          </ac:spMkLst>
        </pc:spChg>
        <pc:picChg chg="add mod">
          <ac:chgData name="Luca Ricci" userId="ee5f09d5-0832-4e68-94c9-d8bfd2ad04f0" providerId="ADAL" clId="{D501E5E2-574F-6542-B665-A334471D5578}" dt="2023-12-18T17:00:59.899" v="10305" actId="1076"/>
          <ac:picMkLst>
            <pc:docMk/>
            <pc:sldMk cId="4096381590" sldId="285"/>
            <ac:picMk id="11" creationId="{4C4491E1-C44C-3A82-E919-1956AB6DFFE6}"/>
          </ac:picMkLst>
        </pc:picChg>
      </pc:sldChg>
      <pc:sldChg chg="modSp new del mod">
        <pc:chgData name="Luca Ricci" userId="ee5f09d5-0832-4e68-94c9-d8bfd2ad04f0" providerId="ADAL" clId="{D501E5E2-574F-6542-B665-A334471D5578}" dt="2023-12-18T16:01:13.268" v="9380" actId="2696"/>
        <pc:sldMkLst>
          <pc:docMk/>
          <pc:sldMk cId="1698397760" sldId="286"/>
        </pc:sldMkLst>
        <pc:spChg chg="mod">
          <ac:chgData name="Luca Ricci" userId="ee5f09d5-0832-4e68-94c9-d8bfd2ad04f0" providerId="ADAL" clId="{D501E5E2-574F-6542-B665-A334471D5578}" dt="2023-12-18T15:20:08.755" v="8768" actId="20577"/>
          <ac:spMkLst>
            <pc:docMk/>
            <pc:sldMk cId="1698397760" sldId="286"/>
            <ac:spMk id="3" creationId="{7B4FDE7C-47A9-63A2-2261-EB6861658F85}"/>
          </ac:spMkLst>
        </pc:spChg>
      </pc:sldChg>
      <pc:sldChg chg="modSp mod">
        <pc:chgData name="Luca Ricci" userId="ee5f09d5-0832-4e68-94c9-d8bfd2ad04f0" providerId="ADAL" clId="{D501E5E2-574F-6542-B665-A334471D5578}" dt="2023-12-18T16:53:50.702" v="10236" actId="20577"/>
        <pc:sldMkLst>
          <pc:docMk/>
          <pc:sldMk cId="4187071354" sldId="287"/>
        </pc:sldMkLst>
        <pc:spChg chg="mod">
          <ac:chgData name="Luca Ricci" userId="ee5f09d5-0832-4e68-94c9-d8bfd2ad04f0" providerId="ADAL" clId="{D501E5E2-574F-6542-B665-A334471D5578}" dt="2023-12-18T16:53:50.702" v="10236" actId="20577"/>
          <ac:spMkLst>
            <pc:docMk/>
            <pc:sldMk cId="4187071354" sldId="287"/>
            <ac:spMk id="7" creationId="{1831B4C8-BE7C-5A59-D3B4-3B0DC386F8C3}"/>
          </ac:spMkLst>
        </pc:spChg>
      </pc:sldChg>
      <pc:sldChg chg="addSp delSp modSp new mod">
        <pc:chgData name="Luca Ricci" userId="ee5f09d5-0832-4e68-94c9-d8bfd2ad04f0" providerId="ADAL" clId="{D501E5E2-574F-6542-B665-A334471D5578}" dt="2023-12-18T18:09:31.388" v="10959" actId="14100"/>
        <pc:sldMkLst>
          <pc:docMk/>
          <pc:sldMk cId="1947591369" sldId="288"/>
        </pc:sldMkLst>
        <pc:spChg chg="del">
          <ac:chgData name="Luca Ricci" userId="ee5f09d5-0832-4e68-94c9-d8bfd2ad04f0" providerId="ADAL" clId="{D501E5E2-574F-6542-B665-A334471D5578}" dt="2023-12-18T17:28:54.237" v="10344" actId="931"/>
          <ac:spMkLst>
            <pc:docMk/>
            <pc:sldMk cId="1947591369" sldId="288"/>
            <ac:spMk id="2" creationId="{DA3D7461-26A4-74B4-1CDE-9EE14EAD45CA}"/>
          </ac:spMkLst>
        </pc:spChg>
        <pc:spChg chg="mod">
          <ac:chgData name="Luca Ricci" userId="ee5f09d5-0832-4e68-94c9-d8bfd2ad04f0" providerId="ADAL" clId="{D501E5E2-574F-6542-B665-A334471D5578}" dt="2023-12-18T15:51:16.732" v="9281" actId="20577"/>
          <ac:spMkLst>
            <pc:docMk/>
            <pc:sldMk cId="1947591369" sldId="288"/>
            <ac:spMk id="3" creationId="{90402BD7-E357-89B2-9EF8-AEC90DF0ACA4}"/>
          </ac:spMkLst>
        </pc:spChg>
        <pc:spChg chg="add mod">
          <ac:chgData name="Luca Ricci" userId="ee5f09d5-0832-4e68-94c9-d8bfd2ad04f0" providerId="ADAL" clId="{D501E5E2-574F-6542-B665-A334471D5578}" dt="2023-12-18T18:09:31.388" v="10959" actId="14100"/>
          <ac:spMkLst>
            <pc:docMk/>
            <pc:sldMk cId="1947591369" sldId="288"/>
            <ac:spMk id="10" creationId="{C179F220-A824-3D78-5583-0A42423934EB}"/>
          </ac:spMkLst>
        </pc:spChg>
        <pc:picChg chg="add mod">
          <ac:chgData name="Luca Ricci" userId="ee5f09d5-0832-4e68-94c9-d8bfd2ad04f0" providerId="ADAL" clId="{D501E5E2-574F-6542-B665-A334471D5578}" dt="2023-12-18T17:37:30.974" v="10372" actId="14826"/>
          <ac:picMkLst>
            <pc:docMk/>
            <pc:sldMk cId="1947591369" sldId="288"/>
            <ac:picMk id="7" creationId="{CF4F1177-8FF5-2D4F-6FD9-80230769F509}"/>
          </ac:picMkLst>
        </pc:picChg>
        <pc:picChg chg="add mod">
          <ac:chgData name="Luca Ricci" userId="ee5f09d5-0832-4e68-94c9-d8bfd2ad04f0" providerId="ADAL" clId="{D501E5E2-574F-6542-B665-A334471D5578}" dt="2023-12-18T17:32:47.101" v="10367" actId="1076"/>
          <ac:picMkLst>
            <pc:docMk/>
            <pc:sldMk cId="1947591369" sldId="288"/>
            <ac:picMk id="9" creationId="{1F81E7B1-F70F-7749-DFFA-338F32E41C57}"/>
          </ac:picMkLst>
        </pc:picChg>
      </pc:sldChg>
      <pc:sldChg chg="addSp delSp modSp new del mod modClrScheme chgLayout">
        <pc:chgData name="Luca Ricci" userId="ee5f09d5-0832-4e68-94c9-d8bfd2ad04f0" providerId="ADAL" clId="{D501E5E2-574F-6542-B665-A334471D5578}" dt="2023-12-18T16:34:48.394" v="9628" actId="2696"/>
        <pc:sldMkLst>
          <pc:docMk/>
          <pc:sldMk cId="316799199" sldId="289"/>
        </pc:sldMkLst>
        <pc:spChg chg="del mod ord">
          <ac:chgData name="Luca Ricci" userId="ee5f09d5-0832-4e68-94c9-d8bfd2ad04f0" providerId="ADAL" clId="{D501E5E2-574F-6542-B665-A334471D5578}" dt="2023-12-18T16:33:32.847" v="9517" actId="700"/>
          <ac:spMkLst>
            <pc:docMk/>
            <pc:sldMk cId="316799199" sldId="289"/>
            <ac:spMk id="2" creationId="{FFC2848C-0F19-5565-FFF2-4E47B09EE352}"/>
          </ac:spMkLst>
        </pc:spChg>
        <pc:spChg chg="mod ord">
          <ac:chgData name="Luca Ricci" userId="ee5f09d5-0832-4e68-94c9-d8bfd2ad04f0" providerId="ADAL" clId="{D501E5E2-574F-6542-B665-A334471D5578}" dt="2023-12-18T16:33:37.514" v="9518" actId="700"/>
          <ac:spMkLst>
            <pc:docMk/>
            <pc:sldMk cId="316799199" sldId="289"/>
            <ac:spMk id="3" creationId="{7325A60B-743D-076B-4098-6D2C66C478C6}"/>
          </ac:spMkLst>
        </pc:spChg>
        <pc:spChg chg="mod ord">
          <ac:chgData name="Luca Ricci" userId="ee5f09d5-0832-4e68-94c9-d8bfd2ad04f0" providerId="ADAL" clId="{D501E5E2-574F-6542-B665-A334471D5578}" dt="2023-12-18T16:33:37.514" v="9518" actId="700"/>
          <ac:spMkLst>
            <pc:docMk/>
            <pc:sldMk cId="316799199" sldId="289"/>
            <ac:spMk id="4" creationId="{2C4FCAF9-13BC-F05E-C96C-38C78823DDDE}"/>
          </ac:spMkLst>
        </pc:spChg>
        <pc:spChg chg="add del mod ord">
          <ac:chgData name="Luca Ricci" userId="ee5f09d5-0832-4e68-94c9-d8bfd2ad04f0" providerId="ADAL" clId="{D501E5E2-574F-6542-B665-A334471D5578}" dt="2023-12-18T16:33:37.514" v="9518" actId="700"/>
          <ac:spMkLst>
            <pc:docMk/>
            <pc:sldMk cId="316799199" sldId="289"/>
            <ac:spMk id="5" creationId="{C26E123C-B9A5-349F-FFBD-2780E1FA806A}"/>
          </ac:spMkLst>
        </pc:spChg>
        <pc:spChg chg="add mod ord">
          <ac:chgData name="Luca Ricci" userId="ee5f09d5-0832-4e68-94c9-d8bfd2ad04f0" providerId="ADAL" clId="{D501E5E2-574F-6542-B665-A334471D5578}" dt="2023-12-18T16:33:40.334" v="9522" actId="20577"/>
          <ac:spMkLst>
            <pc:docMk/>
            <pc:sldMk cId="316799199" sldId="289"/>
            <ac:spMk id="6" creationId="{F882F5DE-38BE-2E6C-0AA3-E43C0285B4A9}"/>
          </ac:spMkLst>
        </pc:spChg>
        <pc:spChg chg="add mod ord">
          <ac:chgData name="Luca Ricci" userId="ee5f09d5-0832-4e68-94c9-d8bfd2ad04f0" providerId="ADAL" clId="{D501E5E2-574F-6542-B665-A334471D5578}" dt="2023-12-18T16:34:20.762" v="9627" actId="20577"/>
          <ac:spMkLst>
            <pc:docMk/>
            <pc:sldMk cId="316799199" sldId="289"/>
            <ac:spMk id="7" creationId="{3B2F9DA6-156E-2EFC-C417-59358D893411}"/>
          </ac:spMkLst>
        </pc:spChg>
      </pc:sldChg>
      <pc:sldChg chg="modSp add mod">
        <pc:chgData name="Luca Ricci" userId="ee5f09d5-0832-4e68-94c9-d8bfd2ad04f0" providerId="ADAL" clId="{D501E5E2-574F-6542-B665-A334471D5578}" dt="2023-12-18T17:04:18.466" v="10343" actId="15"/>
        <pc:sldMkLst>
          <pc:docMk/>
          <pc:sldMk cId="1323570930" sldId="289"/>
        </pc:sldMkLst>
        <pc:spChg chg="mod">
          <ac:chgData name="Luca Ricci" userId="ee5f09d5-0832-4e68-94c9-d8bfd2ad04f0" providerId="ADAL" clId="{D501E5E2-574F-6542-B665-A334471D5578}" dt="2023-12-18T17:04:18.466" v="10343" actId="15"/>
          <ac:spMkLst>
            <pc:docMk/>
            <pc:sldMk cId="1323570930" sldId="289"/>
            <ac:spMk id="2" creationId="{B545D168-F5D6-D66F-354B-7282097BB224}"/>
          </ac:spMkLst>
        </pc:spChg>
        <pc:spChg chg="mod">
          <ac:chgData name="Luca Ricci" userId="ee5f09d5-0832-4e68-94c9-d8bfd2ad04f0" providerId="ADAL" clId="{D501E5E2-574F-6542-B665-A334471D5578}" dt="2023-12-18T16:41:09.148" v="9861" actId="20577"/>
          <ac:spMkLst>
            <pc:docMk/>
            <pc:sldMk cId="1323570930" sldId="289"/>
            <ac:spMk id="3" creationId="{ACD80753-20DC-28DE-860C-EBBFE720783E}"/>
          </ac:spMkLst>
        </pc:spChg>
      </pc:sldChg>
      <pc:sldChg chg="new del">
        <pc:chgData name="Luca Ricci" userId="ee5f09d5-0832-4e68-94c9-d8bfd2ad04f0" providerId="ADAL" clId="{D501E5E2-574F-6542-B665-A334471D5578}" dt="2023-12-18T16:02:37.550" v="9381" actId="2696"/>
        <pc:sldMkLst>
          <pc:docMk/>
          <pc:sldMk cId="2893372073" sldId="289"/>
        </pc:sldMkLst>
      </pc:sldChg>
      <pc:sldChg chg="add mod modShow">
        <pc:chgData name="Luca Ricci" userId="ee5f09d5-0832-4e68-94c9-d8bfd2ad04f0" providerId="ADAL" clId="{D501E5E2-574F-6542-B665-A334471D5578}" dt="2023-12-18T18:21:18.871" v="11144" actId="729"/>
        <pc:sldMkLst>
          <pc:docMk/>
          <pc:sldMk cId="102636184" sldId="290"/>
        </pc:sldMkLst>
      </pc:sldChg>
      <pc:sldMasterChg chg="modSp mod setBg delSldLayout modSldLayout sldLayoutOrd">
        <pc:chgData name="Luca Ricci" userId="ee5f09d5-0832-4e68-94c9-d8bfd2ad04f0" providerId="ADAL" clId="{D501E5E2-574F-6542-B665-A334471D5578}" dt="2023-12-18T18:14:45.046" v="11027" actId="20577"/>
        <pc:sldMasterMkLst>
          <pc:docMk/>
          <pc:sldMasterMk cId="0" sldId="2147483715"/>
        </pc:sldMasterMkLst>
        <pc:spChg chg="mod">
          <ac:chgData name="Luca Ricci" userId="ee5f09d5-0832-4e68-94c9-d8bfd2ad04f0" providerId="ADAL" clId="{D501E5E2-574F-6542-B665-A334471D5578}" dt="2023-12-18T14:40:49.487" v="8421" actId="403"/>
          <ac:spMkLst>
            <pc:docMk/>
            <pc:sldMasterMk cId="0" sldId="2147483715"/>
            <ac:spMk id="15" creationId="{00000000-0000-0000-0000-000000000000}"/>
          </ac:spMkLst>
        </pc:spChg>
        <pc:spChg chg="mod">
          <ac:chgData name="Luca Ricci" userId="ee5f09d5-0832-4e68-94c9-d8bfd2ad04f0" providerId="ADAL" clId="{D501E5E2-574F-6542-B665-A334471D5578}" dt="2023-12-18T14:40:53.831" v="8422" actId="403"/>
          <ac:spMkLst>
            <pc:docMk/>
            <pc:sldMasterMk cId="0" sldId="2147483715"/>
            <ac:spMk id="16" creationId="{00000000-0000-0000-0000-000000000000}"/>
          </ac:spMkLst>
        </pc:spChg>
        <pc:picChg chg="mod">
          <ac:chgData name="Luca Ricci" userId="ee5f09d5-0832-4e68-94c9-d8bfd2ad04f0" providerId="ADAL" clId="{D501E5E2-574F-6542-B665-A334471D5578}" dt="2023-12-18T08:12:50.791" v="3" actId="1076"/>
          <ac:picMkLst>
            <pc:docMk/>
            <pc:sldMasterMk cId="0" sldId="2147483715"/>
            <ac:picMk id="10" creationId="{F0C8D1F1-BA28-4973-A394-021D3C969BE1}"/>
          </ac:picMkLst>
        </pc:picChg>
        <pc:sldLayoutChg chg="delSp modSp mod setBg">
          <pc:chgData name="Luca Ricci" userId="ee5f09d5-0832-4e68-94c9-d8bfd2ad04f0" providerId="ADAL" clId="{D501E5E2-574F-6542-B665-A334471D5578}" dt="2023-12-18T14:45:34.897" v="8474" actId="478"/>
          <pc:sldLayoutMkLst>
            <pc:docMk/>
            <pc:sldMasterMk cId="0" sldId="2147483715"/>
            <pc:sldLayoutMk cId="0" sldId="2147483729"/>
          </pc:sldLayoutMkLst>
          <pc:spChg chg="mod">
            <ac:chgData name="Luca Ricci" userId="ee5f09d5-0832-4e68-94c9-d8bfd2ad04f0" providerId="ADAL" clId="{D501E5E2-574F-6542-B665-A334471D5578}" dt="2023-12-18T08:21:40.986" v="422" actId="20577"/>
            <ac:spMkLst>
              <pc:docMk/>
              <pc:sldMasterMk cId="0" sldId="2147483715"/>
              <pc:sldLayoutMk cId="0" sldId="2147483729"/>
              <ac:spMk id="16" creationId="{BB857729-3B9C-45BF-8F44-236D56EED406}"/>
            </ac:spMkLst>
          </pc:spChg>
          <pc:spChg chg="del">
            <ac:chgData name="Luca Ricci" userId="ee5f09d5-0832-4e68-94c9-d8bfd2ad04f0" providerId="ADAL" clId="{D501E5E2-574F-6542-B665-A334471D5578}" dt="2023-12-18T14:45:34.897" v="8474" actId="478"/>
            <ac:spMkLst>
              <pc:docMk/>
              <pc:sldMasterMk cId="0" sldId="2147483715"/>
              <pc:sldLayoutMk cId="0" sldId="2147483729"/>
              <ac:spMk id="20" creationId="{37C1E426-F34B-4FFB-A688-C9E251A8BC0B}"/>
            </ac:spMkLst>
          </pc:spChg>
          <pc:spChg chg="del mod">
            <ac:chgData name="Luca Ricci" userId="ee5f09d5-0832-4e68-94c9-d8bfd2ad04f0" providerId="ADAL" clId="{D501E5E2-574F-6542-B665-A334471D5578}" dt="2023-12-18T09:08:17.266" v="674" actId="478"/>
            <ac:spMkLst>
              <pc:docMk/>
              <pc:sldMasterMk cId="0" sldId="2147483715"/>
              <pc:sldLayoutMk cId="0" sldId="2147483729"/>
              <ac:spMk id="22" creationId="{6976A686-032A-4DD8-ACB2-F6323D2BEB1D}"/>
            </ac:spMkLst>
          </pc:spChg>
        </pc:sldLayoutChg>
        <pc:sldLayoutChg chg="addSp delSp modSp mod setBg">
          <pc:chgData name="Luca Ricci" userId="ee5f09d5-0832-4e68-94c9-d8bfd2ad04f0" providerId="ADAL" clId="{D501E5E2-574F-6542-B665-A334471D5578}" dt="2023-12-18T14:45:38.844" v="8475" actId="478"/>
          <pc:sldLayoutMkLst>
            <pc:docMk/>
            <pc:sldMasterMk cId="0" sldId="2147483715"/>
            <pc:sldLayoutMk cId="0" sldId="2147483730"/>
          </pc:sldLayoutMkLst>
          <pc:spChg chg="del">
            <ac:chgData name="Luca Ricci" userId="ee5f09d5-0832-4e68-94c9-d8bfd2ad04f0" providerId="ADAL" clId="{D501E5E2-574F-6542-B665-A334471D5578}" dt="2023-12-18T08:22:15.589" v="423"/>
            <ac:spMkLst>
              <pc:docMk/>
              <pc:sldMasterMk cId="0" sldId="2147483715"/>
              <pc:sldLayoutMk cId="0" sldId="2147483730"/>
              <ac:spMk id="2" creationId="{17B8A1C3-E607-4E28-91A1-A973183FE78F}"/>
            </ac:spMkLst>
          </pc:spChg>
          <pc:spChg chg="add del mod">
            <ac:chgData name="Luca Ricci" userId="ee5f09d5-0832-4e68-94c9-d8bfd2ad04f0" providerId="ADAL" clId="{D501E5E2-574F-6542-B665-A334471D5578}" dt="2023-12-18T08:22:18.121" v="425"/>
            <ac:spMkLst>
              <pc:docMk/>
              <pc:sldMasterMk cId="0" sldId="2147483715"/>
              <pc:sldLayoutMk cId="0" sldId="2147483730"/>
              <ac:spMk id="4" creationId="{F2FF30EB-5F17-79B4-04AD-C6B3A97F0C7F}"/>
            </ac:spMkLst>
          </pc:spChg>
          <pc:spChg chg="add del mod">
            <ac:chgData name="Luca Ricci" userId="ee5f09d5-0832-4e68-94c9-d8bfd2ad04f0" providerId="ADAL" clId="{D501E5E2-574F-6542-B665-A334471D5578}" dt="2023-12-18T08:22:18.121" v="425"/>
            <ac:spMkLst>
              <pc:docMk/>
              <pc:sldMasterMk cId="0" sldId="2147483715"/>
              <pc:sldLayoutMk cId="0" sldId="2147483730"/>
              <ac:spMk id="5" creationId="{129A6AB8-AFF5-056F-19FF-8878526EB042}"/>
            </ac:spMkLst>
          </pc:spChg>
          <pc:spChg chg="add del">
            <ac:chgData name="Luca Ricci" userId="ee5f09d5-0832-4e68-94c9-d8bfd2ad04f0" providerId="ADAL" clId="{D501E5E2-574F-6542-B665-A334471D5578}" dt="2023-12-18T09:08:25.994" v="678" actId="478"/>
            <ac:spMkLst>
              <pc:docMk/>
              <pc:sldMasterMk cId="0" sldId="2147483715"/>
              <pc:sldLayoutMk cId="0" sldId="2147483730"/>
              <ac:spMk id="7" creationId="{00000000-0000-0000-0000-000000000000}"/>
            </ac:spMkLst>
          </pc:spChg>
          <pc:spChg chg="del">
            <ac:chgData name="Luca Ricci" userId="ee5f09d5-0832-4e68-94c9-d8bfd2ad04f0" providerId="ADAL" clId="{D501E5E2-574F-6542-B665-A334471D5578}" dt="2023-12-18T08:22:15.589" v="423"/>
            <ac:spMkLst>
              <pc:docMk/>
              <pc:sldMasterMk cId="0" sldId="2147483715"/>
              <pc:sldLayoutMk cId="0" sldId="2147483730"/>
              <ac:spMk id="10" creationId="{6B901E0B-D453-4CEB-8C35-51C25A27F89D}"/>
            </ac:spMkLst>
          </pc:spChg>
          <pc:spChg chg="del">
            <ac:chgData name="Luca Ricci" userId="ee5f09d5-0832-4e68-94c9-d8bfd2ad04f0" providerId="ADAL" clId="{D501E5E2-574F-6542-B665-A334471D5578}" dt="2023-12-18T08:22:15.589" v="423"/>
            <ac:spMkLst>
              <pc:docMk/>
              <pc:sldMasterMk cId="0" sldId="2147483715"/>
              <pc:sldLayoutMk cId="0" sldId="2147483730"/>
              <ac:spMk id="12" creationId="{212E0C1A-F772-4C8C-B2E7-03887DA46ED9}"/>
            </ac:spMkLst>
          </pc:spChg>
          <pc:spChg chg="add del mod">
            <ac:chgData name="Luca Ricci" userId="ee5f09d5-0832-4e68-94c9-d8bfd2ad04f0" providerId="ADAL" clId="{D501E5E2-574F-6542-B665-A334471D5578}" dt="2023-12-18T08:22:18.121" v="425"/>
            <ac:spMkLst>
              <pc:docMk/>
              <pc:sldMasterMk cId="0" sldId="2147483715"/>
              <pc:sldLayoutMk cId="0" sldId="2147483730"/>
              <ac:spMk id="14" creationId="{FB5ED900-CB2B-248C-ACDC-2DD0B4045141}"/>
            </ac:spMkLst>
          </pc:spChg>
          <pc:spChg chg="add mod">
            <ac:chgData name="Luca Ricci" userId="ee5f09d5-0832-4e68-94c9-d8bfd2ad04f0" providerId="ADAL" clId="{D501E5E2-574F-6542-B665-A334471D5578}" dt="2023-12-18T08:22:18.673" v="426"/>
            <ac:spMkLst>
              <pc:docMk/>
              <pc:sldMasterMk cId="0" sldId="2147483715"/>
              <pc:sldLayoutMk cId="0" sldId="2147483730"/>
              <ac:spMk id="16" creationId="{AE7C2CD8-51F6-84D5-C470-B938F011AB20}"/>
            </ac:spMkLst>
          </pc:spChg>
          <pc:spChg chg="mod">
            <ac:chgData name="Luca Ricci" userId="ee5f09d5-0832-4e68-94c9-d8bfd2ad04f0" providerId="ADAL" clId="{D501E5E2-574F-6542-B665-A334471D5578}" dt="2023-12-18T08:22:44.170" v="427"/>
            <ac:spMkLst>
              <pc:docMk/>
              <pc:sldMasterMk cId="0" sldId="2147483715"/>
              <pc:sldLayoutMk cId="0" sldId="2147483730"/>
              <ac:spMk id="17" creationId="{FE09BAC5-F3BC-4C51-A794-098F4099C052}"/>
            </ac:spMkLst>
          </pc:spChg>
          <pc:spChg chg="add mod">
            <ac:chgData name="Luca Ricci" userId="ee5f09d5-0832-4e68-94c9-d8bfd2ad04f0" providerId="ADAL" clId="{D501E5E2-574F-6542-B665-A334471D5578}" dt="2023-12-18T08:22:18.673" v="426"/>
            <ac:spMkLst>
              <pc:docMk/>
              <pc:sldMasterMk cId="0" sldId="2147483715"/>
              <pc:sldLayoutMk cId="0" sldId="2147483730"/>
              <ac:spMk id="18" creationId="{EE4D22F7-7348-86BB-D216-A2E404B743AB}"/>
            </ac:spMkLst>
          </pc:spChg>
          <pc:spChg chg="add mod">
            <ac:chgData name="Luca Ricci" userId="ee5f09d5-0832-4e68-94c9-d8bfd2ad04f0" providerId="ADAL" clId="{D501E5E2-574F-6542-B665-A334471D5578}" dt="2023-12-18T08:22:18.673" v="426"/>
            <ac:spMkLst>
              <pc:docMk/>
              <pc:sldMasterMk cId="0" sldId="2147483715"/>
              <pc:sldLayoutMk cId="0" sldId="2147483730"/>
              <ac:spMk id="20" creationId="{51FD46C1-99E4-32F0-2F7E-6F40AFB84D4A}"/>
            </ac:spMkLst>
          </pc:spChg>
          <pc:spChg chg="del">
            <ac:chgData name="Luca Ricci" userId="ee5f09d5-0832-4e68-94c9-d8bfd2ad04f0" providerId="ADAL" clId="{D501E5E2-574F-6542-B665-A334471D5578}" dt="2023-12-18T14:45:38.844" v="8475" actId="478"/>
            <ac:spMkLst>
              <pc:docMk/>
              <pc:sldMasterMk cId="0" sldId="2147483715"/>
              <pc:sldLayoutMk cId="0" sldId="2147483730"/>
              <ac:spMk id="21" creationId="{6F76DDB4-3F8E-4A82-B473-4784C9B20BC1}"/>
            </ac:spMkLst>
          </pc:spChg>
          <pc:spChg chg="add del mod">
            <ac:chgData name="Luca Ricci" userId="ee5f09d5-0832-4e68-94c9-d8bfd2ad04f0" providerId="ADAL" clId="{D501E5E2-574F-6542-B665-A334471D5578}" dt="2023-12-18T09:08:23.135" v="676" actId="478"/>
            <ac:spMkLst>
              <pc:docMk/>
              <pc:sldMasterMk cId="0" sldId="2147483715"/>
              <pc:sldLayoutMk cId="0" sldId="2147483730"/>
              <ac:spMk id="22" creationId="{B9D63E21-4B9B-CBEF-06B6-4DFBBEBD8C0A}"/>
            </ac:spMkLst>
          </pc:spChg>
          <pc:spChg chg="del">
            <ac:chgData name="Luca Ricci" userId="ee5f09d5-0832-4e68-94c9-d8bfd2ad04f0" providerId="ADAL" clId="{D501E5E2-574F-6542-B665-A334471D5578}" dt="2023-12-18T09:08:29.046" v="679" actId="478"/>
            <ac:spMkLst>
              <pc:docMk/>
              <pc:sldMasterMk cId="0" sldId="2147483715"/>
              <pc:sldLayoutMk cId="0" sldId="2147483730"/>
              <ac:spMk id="23" creationId="{2C326E6F-F54B-4E77-BCF5-73E6B02466B0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5:42.400" v="8477" actId="478"/>
          <pc:sldLayoutMkLst>
            <pc:docMk/>
            <pc:sldMasterMk cId="0" sldId="2147483715"/>
            <pc:sldLayoutMk cId="0" sldId="2147483731"/>
          </pc:sldLayoutMkLst>
          <pc:spChg chg="mod">
            <ac:chgData name="Luca Ricci" userId="ee5f09d5-0832-4e68-94c9-d8bfd2ad04f0" providerId="ADAL" clId="{D501E5E2-574F-6542-B665-A334471D5578}" dt="2023-12-18T08:22:50.819" v="428"/>
            <ac:spMkLst>
              <pc:docMk/>
              <pc:sldMasterMk cId="0" sldId="2147483715"/>
              <pc:sldLayoutMk cId="0" sldId="2147483731"/>
              <ac:spMk id="18" creationId="{DC9834AE-8B30-477E-8C87-5F8E7D7B17A3}"/>
            </ac:spMkLst>
          </pc:spChg>
          <pc:spChg chg="del mod">
            <ac:chgData name="Luca Ricci" userId="ee5f09d5-0832-4e68-94c9-d8bfd2ad04f0" providerId="ADAL" clId="{D501E5E2-574F-6542-B665-A334471D5578}" dt="2023-12-18T14:45:42.400" v="8477" actId="478"/>
            <ac:spMkLst>
              <pc:docMk/>
              <pc:sldMasterMk cId="0" sldId="2147483715"/>
              <pc:sldLayoutMk cId="0" sldId="2147483731"/>
              <ac:spMk id="22" creationId="{A254D557-505E-4B08-8C5B-DEA083728C5A}"/>
            </ac:spMkLst>
          </pc:spChg>
          <pc:spChg chg="del">
            <ac:chgData name="Luca Ricci" userId="ee5f09d5-0832-4e68-94c9-d8bfd2ad04f0" providerId="ADAL" clId="{D501E5E2-574F-6542-B665-A334471D5578}" dt="2023-12-18T09:08:33.358" v="680" actId="478"/>
            <ac:spMkLst>
              <pc:docMk/>
              <pc:sldMasterMk cId="0" sldId="2147483715"/>
              <pc:sldLayoutMk cId="0" sldId="2147483731"/>
              <ac:spMk id="24" creationId="{6E3D16E2-B858-4F89-B7A0-119FBFC70810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5:48.011" v="8478" actId="478"/>
          <pc:sldLayoutMkLst>
            <pc:docMk/>
            <pc:sldMasterMk cId="0" sldId="2147483715"/>
            <pc:sldLayoutMk cId="0" sldId="2147483732"/>
          </pc:sldLayoutMkLst>
          <pc:spChg chg="mod">
            <ac:chgData name="Luca Ricci" userId="ee5f09d5-0832-4e68-94c9-d8bfd2ad04f0" providerId="ADAL" clId="{D501E5E2-574F-6542-B665-A334471D5578}" dt="2023-12-18T08:23:00.191" v="429"/>
            <ac:spMkLst>
              <pc:docMk/>
              <pc:sldMasterMk cId="0" sldId="2147483715"/>
              <pc:sldLayoutMk cId="0" sldId="2147483732"/>
              <ac:spMk id="20" creationId="{C0C951CC-CB9B-43AC-8395-FB2751814E0F}"/>
            </ac:spMkLst>
          </pc:spChg>
          <pc:spChg chg="del">
            <ac:chgData name="Luca Ricci" userId="ee5f09d5-0832-4e68-94c9-d8bfd2ad04f0" providerId="ADAL" clId="{D501E5E2-574F-6542-B665-A334471D5578}" dt="2023-12-18T14:45:48.011" v="8478" actId="478"/>
            <ac:spMkLst>
              <pc:docMk/>
              <pc:sldMasterMk cId="0" sldId="2147483715"/>
              <pc:sldLayoutMk cId="0" sldId="2147483732"/>
              <ac:spMk id="24" creationId="{3F4900C8-0A39-4B02-8E0A-398AAC4831BF}"/>
            </ac:spMkLst>
          </pc:spChg>
          <pc:spChg chg="del">
            <ac:chgData name="Luca Ricci" userId="ee5f09d5-0832-4e68-94c9-d8bfd2ad04f0" providerId="ADAL" clId="{D501E5E2-574F-6542-B665-A334471D5578}" dt="2023-12-18T09:08:39.585" v="681" actId="478"/>
            <ac:spMkLst>
              <pc:docMk/>
              <pc:sldMasterMk cId="0" sldId="2147483715"/>
              <pc:sldLayoutMk cId="0" sldId="2147483732"/>
              <ac:spMk id="26" creationId="{A1158698-11CA-4310-AAEA-81BFB74C7A4D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5:50.300" v="8479" actId="478"/>
          <pc:sldLayoutMkLst>
            <pc:docMk/>
            <pc:sldMasterMk cId="0" sldId="2147483715"/>
            <pc:sldLayoutMk cId="0" sldId="2147483733"/>
          </pc:sldLayoutMkLst>
          <pc:spChg chg="mod">
            <ac:chgData name="Luca Ricci" userId="ee5f09d5-0832-4e68-94c9-d8bfd2ad04f0" providerId="ADAL" clId="{D501E5E2-574F-6542-B665-A334471D5578}" dt="2023-12-18T08:23:07.322" v="430"/>
            <ac:spMkLst>
              <pc:docMk/>
              <pc:sldMasterMk cId="0" sldId="2147483715"/>
              <pc:sldLayoutMk cId="0" sldId="2147483733"/>
              <ac:spMk id="19" creationId="{0C8DD3BC-73D2-4101-B037-359F1B42B434}"/>
            </ac:spMkLst>
          </pc:spChg>
          <pc:spChg chg="del">
            <ac:chgData name="Luca Ricci" userId="ee5f09d5-0832-4e68-94c9-d8bfd2ad04f0" providerId="ADAL" clId="{D501E5E2-574F-6542-B665-A334471D5578}" dt="2023-12-18T14:45:50.300" v="8479" actId="478"/>
            <ac:spMkLst>
              <pc:docMk/>
              <pc:sldMasterMk cId="0" sldId="2147483715"/>
              <pc:sldLayoutMk cId="0" sldId="2147483733"/>
              <ac:spMk id="23" creationId="{FC21F178-EFAA-49DE-A35E-72E2C0CA3B0B}"/>
            </ac:spMkLst>
          </pc:spChg>
          <pc:spChg chg="del">
            <ac:chgData name="Luca Ricci" userId="ee5f09d5-0832-4e68-94c9-d8bfd2ad04f0" providerId="ADAL" clId="{D501E5E2-574F-6542-B665-A334471D5578}" dt="2023-12-18T09:08:42.908" v="682" actId="478"/>
            <ac:spMkLst>
              <pc:docMk/>
              <pc:sldMasterMk cId="0" sldId="2147483715"/>
              <pc:sldLayoutMk cId="0" sldId="2147483733"/>
              <ac:spMk id="25" creationId="{43B2B732-8EC3-4F44-986D-B5DAC6EA77C1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5:53.350" v="8480" actId="478"/>
          <pc:sldLayoutMkLst>
            <pc:docMk/>
            <pc:sldMasterMk cId="0" sldId="2147483715"/>
            <pc:sldLayoutMk cId="0" sldId="2147483734"/>
          </pc:sldLayoutMkLst>
          <pc:spChg chg="mod">
            <ac:chgData name="Luca Ricci" userId="ee5f09d5-0832-4e68-94c9-d8bfd2ad04f0" providerId="ADAL" clId="{D501E5E2-574F-6542-B665-A334471D5578}" dt="2023-12-18T08:23:12.622" v="431"/>
            <ac:spMkLst>
              <pc:docMk/>
              <pc:sldMasterMk cId="0" sldId="2147483715"/>
              <pc:sldLayoutMk cId="0" sldId="2147483734"/>
              <ac:spMk id="20" creationId="{97E57A33-CDFD-4C72-B657-882682DACB1E}"/>
            </ac:spMkLst>
          </pc:spChg>
          <pc:spChg chg="del">
            <ac:chgData name="Luca Ricci" userId="ee5f09d5-0832-4e68-94c9-d8bfd2ad04f0" providerId="ADAL" clId="{D501E5E2-574F-6542-B665-A334471D5578}" dt="2023-12-18T14:45:53.350" v="8480" actId="478"/>
            <ac:spMkLst>
              <pc:docMk/>
              <pc:sldMasterMk cId="0" sldId="2147483715"/>
              <pc:sldLayoutMk cId="0" sldId="2147483734"/>
              <ac:spMk id="24" creationId="{F09BE8EF-EBD2-4B7A-9878-8440DC26C91A}"/>
            </ac:spMkLst>
          </pc:spChg>
          <pc:spChg chg="del">
            <ac:chgData name="Luca Ricci" userId="ee5f09d5-0832-4e68-94c9-d8bfd2ad04f0" providerId="ADAL" clId="{D501E5E2-574F-6542-B665-A334471D5578}" dt="2023-12-18T09:08:48.800" v="683" actId="478"/>
            <ac:spMkLst>
              <pc:docMk/>
              <pc:sldMasterMk cId="0" sldId="2147483715"/>
              <pc:sldLayoutMk cId="0" sldId="2147483734"/>
              <ac:spMk id="26" creationId="{99207B66-AFA5-4510-BF1D-29423C34CEF2}"/>
            </ac:spMkLst>
          </pc:spChg>
        </pc:sldLayoutChg>
        <pc:sldLayoutChg chg="addSp delSp modSp mod setBg">
          <pc:chgData name="Luca Ricci" userId="ee5f09d5-0832-4e68-94c9-d8bfd2ad04f0" providerId="ADAL" clId="{D501E5E2-574F-6542-B665-A334471D5578}" dt="2023-12-18T14:45:56.172" v="8481" actId="478"/>
          <pc:sldLayoutMkLst>
            <pc:docMk/>
            <pc:sldMasterMk cId="0" sldId="2147483715"/>
            <pc:sldLayoutMk cId="0" sldId="2147483735"/>
          </pc:sldLayoutMkLst>
          <pc:spChg chg="add del">
            <ac:chgData name="Luca Ricci" userId="ee5f09d5-0832-4e68-94c9-d8bfd2ad04f0" providerId="ADAL" clId="{D501E5E2-574F-6542-B665-A334471D5578}" dt="2023-12-18T09:08:54.812" v="685" actId="478"/>
            <ac:spMkLst>
              <pc:docMk/>
              <pc:sldMasterMk cId="0" sldId="2147483715"/>
              <pc:sldLayoutMk cId="0" sldId="2147483735"/>
              <ac:spMk id="7" creationId="{00000000-0000-0000-0000-000000000000}"/>
            </ac:spMkLst>
          </pc:spChg>
          <pc:spChg chg="mod">
            <ac:chgData name="Luca Ricci" userId="ee5f09d5-0832-4e68-94c9-d8bfd2ad04f0" providerId="ADAL" clId="{D501E5E2-574F-6542-B665-A334471D5578}" dt="2023-12-18T08:23:18.169" v="432"/>
            <ac:spMkLst>
              <pc:docMk/>
              <pc:sldMasterMk cId="0" sldId="2147483715"/>
              <pc:sldLayoutMk cId="0" sldId="2147483735"/>
              <ac:spMk id="19" creationId="{557CA6BF-F2F9-417F-A2FD-035F1FC85693}"/>
            </ac:spMkLst>
          </pc:spChg>
          <pc:spChg chg="del">
            <ac:chgData name="Luca Ricci" userId="ee5f09d5-0832-4e68-94c9-d8bfd2ad04f0" providerId="ADAL" clId="{D501E5E2-574F-6542-B665-A334471D5578}" dt="2023-12-18T14:45:56.172" v="8481" actId="478"/>
            <ac:spMkLst>
              <pc:docMk/>
              <pc:sldMasterMk cId="0" sldId="2147483715"/>
              <pc:sldLayoutMk cId="0" sldId="2147483735"/>
              <ac:spMk id="23" creationId="{4E82CE8C-8E20-4C1A-B65C-F8A30CF5A153}"/>
            </ac:spMkLst>
          </pc:spChg>
          <pc:spChg chg="del">
            <ac:chgData name="Luca Ricci" userId="ee5f09d5-0832-4e68-94c9-d8bfd2ad04f0" providerId="ADAL" clId="{D501E5E2-574F-6542-B665-A334471D5578}" dt="2023-12-18T09:08:58.473" v="686" actId="478"/>
            <ac:spMkLst>
              <pc:docMk/>
              <pc:sldMasterMk cId="0" sldId="2147483715"/>
              <pc:sldLayoutMk cId="0" sldId="2147483735"/>
              <ac:spMk id="25" creationId="{D96F0A90-37BC-4B0D-A29D-8711C51DD447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5:59.940" v="8482" actId="478"/>
          <pc:sldLayoutMkLst>
            <pc:docMk/>
            <pc:sldMasterMk cId="0" sldId="2147483715"/>
            <pc:sldLayoutMk cId="0" sldId="2147483736"/>
          </pc:sldLayoutMkLst>
          <pc:spChg chg="mod">
            <ac:chgData name="Luca Ricci" userId="ee5f09d5-0832-4e68-94c9-d8bfd2ad04f0" providerId="ADAL" clId="{D501E5E2-574F-6542-B665-A334471D5578}" dt="2023-12-18T08:23:22.171" v="433"/>
            <ac:spMkLst>
              <pc:docMk/>
              <pc:sldMasterMk cId="0" sldId="2147483715"/>
              <pc:sldLayoutMk cId="0" sldId="2147483736"/>
              <ac:spMk id="20" creationId="{C492E0D9-97C5-4A27-B585-4460769C4D67}"/>
            </ac:spMkLst>
          </pc:spChg>
          <pc:spChg chg="del">
            <ac:chgData name="Luca Ricci" userId="ee5f09d5-0832-4e68-94c9-d8bfd2ad04f0" providerId="ADAL" clId="{D501E5E2-574F-6542-B665-A334471D5578}" dt="2023-12-18T14:45:59.940" v="8482" actId="478"/>
            <ac:spMkLst>
              <pc:docMk/>
              <pc:sldMasterMk cId="0" sldId="2147483715"/>
              <pc:sldLayoutMk cId="0" sldId="2147483736"/>
              <ac:spMk id="24" creationId="{D547197E-1EC3-47AA-B644-4B7771421A2B}"/>
            </ac:spMkLst>
          </pc:spChg>
          <pc:spChg chg="del">
            <ac:chgData name="Luca Ricci" userId="ee5f09d5-0832-4e68-94c9-d8bfd2ad04f0" providerId="ADAL" clId="{D501E5E2-574F-6542-B665-A334471D5578}" dt="2023-12-18T09:09:02.519" v="687" actId="478"/>
            <ac:spMkLst>
              <pc:docMk/>
              <pc:sldMasterMk cId="0" sldId="2147483715"/>
              <pc:sldLayoutMk cId="0" sldId="2147483736"/>
              <ac:spMk id="26" creationId="{5B4084F1-8114-4C22-84F5-3D14817A7904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6:02.746" v="8483" actId="478"/>
          <pc:sldLayoutMkLst>
            <pc:docMk/>
            <pc:sldMasterMk cId="0" sldId="2147483715"/>
            <pc:sldLayoutMk cId="0" sldId="2147483737"/>
          </pc:sldLayoutMkLst>
          <pc:spChg chg="mod">
            <ac:chgData name="Luca Ricci" userId="ee5f09d5-0832-4e68-94c9-d8bfd2ad04f0" providerId="ADAL" clId="{D501E5E2-574F-6542-B665-A334471D5578}" dt="2023-12-18T08:23:26.580" v="434"/>
            <ac:spMkLst>
              <pc:docMk/>
              <pc:sldMasterMk cId="0" sldId="2147483715"/>
              <pc:sldLayoutMk cId="0" sldId="2147483737"/>
              <ac:spMk id="9" creationId="{C33D0117-4C9D-47FC-BBAF-7D90814DB7C7}"/>
            </ac:spMkLst>
          </pc:spChg>
          <pc:spChg chg="del">
            <ac:chgData name="Luca Ricci" userId="ee5f09d5-0832-4e68-94c9-d8bfd2ad04f0" providerId="ADAL" clId="{D501E5E2-574F-6542-B665-A334471D5578}" dt="2023-12-18T14:46:02.746" v="8483" actId="478"/>
            <ac:spMkLst>
              <pc:docMk/>
              <pc:sldMasterMk cId="0" sldId="2147483715"/>
              <pc:sldLayoutMk cId="0" sldId="2147483737"/>
              <ac:spMk id="14" creationId="{B1D76006-023D-437E-80D1-B8FC83CA1329}"/>
            </ac:spMkLst>
          </pc:spChg>
          <pc:spChg chg="del">
            <ac:chgData name="Luca Ricci" userId="ee5f09d5-0832-4e68-94c9-d8bfd2ad04f0" providerId="ADAL" clId="{D501E5E2-574F-6542-B665-A334471D5578}" dt="2023-12-18T09:09:06.225" v="688" actId="478"/>
            <ac:spMkLst>
              <pc:docMk/>
              <pc:sldMasterMk cId="0" sldId="2147483715"/>
              <pc:sldLayoutMk cId="0" sldId="2147483737"/>
              <ac:spMk id="26" creationId="{71DC81B7-1CCA-48F9-8AB9-34BBC16340CF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6:05.669" v="8484" actId="478"/>
          <pc:sldLayoutMkLst>
            <pc:docMk/>
            <pc:sldMasterMk cId="0" sldId="2147483715"/>
            <pc:sldLayoutMk cId="0" sldId="2147483738"/>
          </pc:sldLayoutMkLst>
          <pc:spChg chg="mod">
            <ac:chgData name="Luca Ricci" userId="ee5f09d5-0832-4e68-94c9-d8bfd2ad04f0" providerId="ADAL" clId="{D501E5E2-574F-6542-B665-A334471D5578}" dt="2023-12-18T08:23:30.813" v="435"/>
            <ac:spMkLst>
              <pc:docMk/>
              <pc:sldMasterMk cId="0" sldId="2147483715"/>
              <pc:sldLayoutMk cId="0" sldId="2147483738"/>
              <ac:spMk id="9" creationId="{2A98BB16-D9CD-4785-A71C-21C57A554883}"/>
            </ac:spMkLst>
          </pc:spChg>
          <pc:spChg chg="del">
            <ac:chgData name="Luca Ricci" userId="ee5f09d5-0832-4e68-94c9-d8bfd2ad04f0" providerId="ADAL" clId="{D501E5E2-574F-6542-B665-A334471D5578}" dt="2023-12-18T14:46:05.669" v="8484" actId="478"/>
            <ac:spMkLst>
              <pc:docMk/>
              <pc:sldMasterMk cId="0" sldId="2147483715"/>
              <pc:sldLayoutMk cId="0" sldId="2147483738"/>
              <ac:spMk id="11" creationId="{DBAA7875-DC7B-4CB1-AFAA-A99AEDD01BF7}"/>
            </ac:spMkLst>
          </pc:spChg>
          <pc:spChg chg="del">
            <ac:chgData name="Luca Ricci" userId="ee5f09d5-0832-4e68-94c9-d8bfd2ad04f0" providerId="ADAL" clId="{D501E5E2-574F-6542-B665-A334471D5578}" dt="2023-12-18T09:09:10.312" v="689" actId="478"/>
            <ac:spMkLst>
              <pc:docMk/>
              <pc:sldMasterMk cId="0" sldId="2147483715"/>
              <pc:sldLayoutMk cId="0" sldId="2147483738"/>
              <ac:spMk id="15" creationId="{5743D8EF-9336-4669-BBD9-501D062A3DB4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6:08.319" v="8485" actId="478"/>
          <pc:sldLayoutMkLst>
            <pc:docMk/>
            <pc:sldMasterMk cId="0" sldId="2147483715"/>
            <pc:sldLayoutMk cId="0" sldId="2147483739"/>
          </pc:sldLayoutMkLst>
          <pc:spChg chg="mod">
            <ac:chgData name="Luca Ricci" userId="ee5f09d5-0832-4e68-94c9-d8bfd2ad04f0" providerId="ADAL" clId="{D501E5E2-574F-6542-B665-A334471D5578}" dt="2023-12-18T08:24:39.544" v="438"/>
            <ac:spMkLst>
              <pc:docMk/>
              <pc:sldMasterMk cId="0" sldId="2147483715"/>
              <pc:sldLayoutMk cId="0" sldId="2147483739"/>
              <ac:spMk id="16" creationId="{4E03D739-7852-4964-A407-6FD3B0FC1EEE}"/>
            </ac:spMkLst>
          </pc:spChg>
          <pc:spChg chg="del">
            <ac:chgData name="Luca Ricci" userId="ee5f09d5-0832-4e68-94c9-d8bfd2ad04f0" providerId="ADAL" clId="{D501E5E2-574F-6542-B665-A334471D5578}" dt="2023-12-18T14:46:08.319" v="8485" actId="478"/>
            <ac:spMkLst>
              <pc:docMk/>
              <pc:sldMasterMk cId="0" sldId="2147483715"/>
              <pc:sldLayoutMk cId="0" sldId="2147483739"/>
              <ac:spMk id="20" creationId="{35CA1B3C-86AD-43CD-94E9-5A2E81B7D24E}"/>
            </ac:spMkLst>
          </pc:spChg>
          <pc:spChg chg="del">
            <ac:chgData name="Luca Ricci" userId="ee5f09d5-0832-4e68-94c9-d8bfd2ad04f0" providerId="ADAL" clId="{D501E5E2-574F-6542-B665-A334471D5578}" dt="2023-12-18T09:09:14.263" v="690" actId="478"/>
            <ac:spMkLst>
              <pc:docMk/>
              <pc:sldMasterMk cId="0" sldId="2147483715"/>
              <pc:sldLayoutMk cId="0" sldId="2147483739"/>
              <ac:spMk id="22" creationId="{8E11CE1F-6424-469C-8957-85A359561FBF}"/>
            </ac:spMkLst>
          </pc:spChg>
        </pc:sldLayoutChg>
        <pc:sldLayoutChg chg="addSp delSp modSp mod setBg">
          <pc:chgData name="Luca Ricci" userId="ee5f09d5-0832-4e68-94c9-d8bfd2ad04f0" providerId="ADAL" clId="{D501E5E2-574F-6542-B665-A334471D5578}" dt="2023-12-18T14:45:26.254" v="8472" actId="478"/>
          <pc:sldLayoutMkLst>
            <pc:docMk/>
            <pc:sldMasterMk cId="0" sldId="2147483715"/>
            <pc:sldLayoutMk cId="455361232" sldId="2147483744"/>
          </pc:sldLayoutMkLst>
          <pc:spChg chg="add mod">
            <ac:chgData name="Luca Ricci" userId="ee5f09d5-0832-4e68-94c9-d8bfd2ad04f0" providerId="ADAL" clId="{D501E5E2-574F-6542-B665-A334471D5578}" dt="2023-12-18T14:40:00.704" v="8420" actId="1076"/>
            <ac:spMkLst>
              <pc:docMk/>
              <pc:sldMasterMk cId="0" sldId="2147483715"/>
              <pc:sldLayoutMk cId="455361232" sldId="2147483744"/>
              <ac:spMk id="5" creationId="{8E517925-1E1F-5C49-CCDA-9974E75078DA}"/>
            </ac:spMkLst>
          </pc:spChg>
          <pc:spChg chg="del">
            <ac:chgData name="Luca Ricci" userId="ee5f09d5-0832-4e68-94c9-d8bfd2ad04f0" providerId="ADAL" clId="{D501E5E2-574F-6542-B665-A334471D5578}" dt="2023-12-18T14:45:26.254" v="8472" actId="478"/>
            <ac:spMkLst>
              <pc:docMk/>
              <pc:sldMasterMk cId="0" sldId="2147483715"/>
              <pc:sldLayoutMk cId="455361232" sldId="2147483744"/>
              <ac:spMk id="10" creationId="{2D16A7B9-CA23-4C66-B2AF-3682EAAE8159}"/>
            </ac:spMkLst>
          </pc:spChg>
          <pc:spChg chg="del">
            <ac:chgData name="Luca Ricci" userId="ee5f09d5-0832-4e68-94c9-d8bfd2ad04f0" providerId="ADAL" clId="{D501E5E2-574F-6542-B665-A334471D5578}" dt="2023-12-18T08:40:35.169" v="472" actId="478"/>
            <ac:spMkLst>
              <pc:docMk/>
              <pc:sldMasterMk cId="0" sldId="2147483715"/>
              <pc:sldLayoutMk cId="455361232" sldId="2147483744"/>
              <ac:spMk id="23" creationId="{5805FCC4-D045-0733-8C95-81CAFF95804B}"/>
            </ac:spMkLst>
          </pc:spChg>
          <pc:picChg chg="add mod">
            <ac:chgData name="Luca Ricci" userId="ee5f09d5-0832-4e68-94c9-d8bfd2ad04f0" providerId="ADAL" clId="{D501E5E2-574F-6542-B665-A334471D5578}" dt="2023-12-18T08:13:22.537" v="8" actId="14100"/>
            <ac:picMkLst>
              <pc:docMk/>
              <pc:sldMasterMk cId="0" sldId="2147483715"/>
              <pc:sldLayoutMk cId="455361232" sldId="2147483744"/>
              <ac:picMk id="4" creationId="{605D435E-1749-4D7C-922C-B8AA23F4AC2D}"/>
            </ac:picMkLst>
          </pc:picChg>
          <pc:picChg chg="del mod">
            <ac:chgData name="Luca Ricci" userId="ee5f09d5-0832-4e68-94c9-d8bfd2ad04f0" providerId="ADAL" clId="{D501E5E2-574F-6542-B665-A334471D5578}" dt="2023-12-18T08:13:16.633" v="5" actId="478"/>
            <ac:picMkLst>
              <pc:docMk/>
              <pc:sldMasterMk cId="0" sldId="2147483715"/>
              <pc:sldLayoutMk cId="455361232" sldId="2147483744"/>
              <ac:picMk id="20" creationId="{92DC6926-96FF-4BB1-823E-5F2FFE796E76}"/>
            </ac:picMkLst>
          </pc:picChg>
        </pc:sldLayoutChg>
        <pc:sldLayoutChg chg="modSp mod setBg">
          <pc:chgData name="Luca Ricci" userId="ee5f09d5-0832-4e68-94c9-d8bfd2ad04f0" providerId="ADAL" clId="{D501E5E2-574F-6542-B665-A334471D5578}" dt="2023-12-18T08:37:40.397" v="460" actId="207"/>
          <pc:sldLayoutMkLst>
            <pc:docMk/>
            <pc:sldMasterMk cId="0" sldId="2147483715"/>
            <pc:sldLayoutMk cId="987074326" sldId="2147483747"/>
          </pc:sldLayoutMkLst>
          <pc:spChg chg="mod">
            <ac:chgData name="Luca Ricci" userId="ee5f09d5-0832-4e68-94c9-d8bfd2ad04f0" providerId="ADAL" clId="{D501E5E2-574F-6542-B665-A334471D5578}" dt="2023-12-18T08:37:40.397" v="460" actId="207"/>
            <ac:spMkLst>
              <pc:docMk/>
              <pc:sldMasterMk cId="0" sldId="2147483715"/>
              <pc:sldLayoutMk cId="987074326" sldId="2147483747"/>
              <ac:spMk id="2" creationId="{3FBBF7BF-BA7F-647C-39AB-CEDA0092AA91}"/>
            </ac:spMkLst>
          </pc:spChg>
        </pc:sldLayoutChg>
        <pc:sldLayoutChg chg="delSp mod">
          <pc:chgData name="Luca Ricci" userId="ee5f09d5-0832-4e68-94c9-d8bfd2ad04f0" providerId="ADAL" clId="{D501E5E2-574F-6542-B665-A334471D5578}" dt="2023-12-18T14:45:22.447" v="8471" actId="478"/>
          <pc:sldLayoutMkLst>
            <pc:docMk/>
            <pc:sldMasterMk cId="0" sldId="2147483715"/>
            <pc:sldLayoutMk cId="2281391533" sldId="2147483751"/>
          </pc:sldLayoutMkLst>
          <pc:spChg chg="del">
            <ac:chgData name="Luca Ricci" userId="ee5f09d5-0832-4e68-94c9-d8bfd2ad04f0" providerId="ADAL" clId="{D501E5E2-574F-6542-B665-A334471D5578}" dt="2023-12-18T14:45:22.447" v="8471" actId="478"/>
            <ac:spMkLst>
              <pc:docMk/>
              <pc:sldMasterMk cId="0" sldId="2147483715"/>
              <pc:sldLayoutMk cId="2281391533" sldId="2147483751"/>
              <ac:spMk id="9" creationId="{F2A69E30-B66A-4640-A0FD-5D2C3EE160B0}"/>
            </ac:spMkLst>
          </pc:spChg>
          <pc:picChg chg="del">
            <ac:chgData name="Luca Ricci" userId="ee5f09d5-0832-4e68-94c9-d8bfd2ad04f0" providerId="ADAL" clId="{D501E5E2-574F-6542-B665-A334471D5578}" dt="2023-12-18T09:16:48.020" v="756" actId="478"/>
            <ac:picMkLst>
              <pc:docMk/>
              <pc:sldMasterMk cId="0" sldId="2147483715"/>
              <pc:sldLayoutMk cId="2281391533" sldId="2147483751"/>
              <ac:picMk id="13" creationId="{14B40D43-B16A-95C2-5897-59812263EA21}"/>
            </ac:picMkLst>
          </pc:picChg>
        </pc:sldLayoutChg>
        <pc:sldLayoutChg chg="addSp delSp modSp mod setBg">
          <pc:chgData name="Luca Ricci" userId="ee5f09d5-0832-4e68-94c9-d8bfd2ad04f0" providerId="ADAL" clId="{D501E5E2-574F-6542-B665-A334471D5578}" dt="2023-12-18T18:14:45.046" v="11027" actId="20577"/>
          <pc:sldLayoutMkLst>
            <pc:docMk/>
            <pc:sldMasterMk cId="0" sldId="2147483715"/>
            <pc:sldLayoutMk cId="197727015" sldId="2147483753"/>
          </pc:sldLayoutMkLst>
          <pc:spChg chg="add del">
            <ac:chgData name="Luca Ricci" userId="ee5f09d5-0832-4e68-94c9-d8bfd2ad04f0" providerId="ADAL" clId="{D501E5E2-574F-6542-B665-A334471D5578}" dt="2023-12-18T10:45:20.801" v="5452" actId="11529"/>
            <ac:spMkLst>
              <pc:docMk/>
              <pc:sldMasterMk cId="0" sldId="2147483715"/>
              <pc:sldLayoutMk cId="197727015" sldId="2147483753"/>
              <ac:spMk id="3" creationId="{5F908CE4-3C1E-1693-1D32-7E70BFD09BDB}"/>
            </ac:spMkLst>
          </pc:spChg>
          <pc:spChg chg="add del mod">
            <ac:chgData name="Luca Ricci" userId="ee5f09d5-0832-4e68-94c9-d8bfd2ad04f0" providerId="ADAL" clId="{D501E5E2-574F-6542-B665-A334471D5578}" dt="2023-12-18T11:01:04.276" v="6436" actId="478"/>
            <ac:spMkLst>
              <pc:docMk/>
              <pc:sldMasterMk cId="0" sldId="2147483715"/>
              <pc:sldLayoutMk cId="197727015" sldId="2147483753"/>
              <ac:spMk id="5" creationId="{67EA891B-5AAB-31DF-A6C1-A05663215303}"/>
            </ac:spMkLst>
          </pc:spChg>
          <pc:spChg chg="add del">
            <ac:chgData name="Luca Ricci" userId="ee5f09d5-0832-4e68-94c9-d8bfd2ad04f0" providerId="ADAL" clId="{D501E5E2-574F-6542-B665-A334471D5578}" dt="2023-12-18T11:00:38.887" v="6417"/>
            <ac:spMkLst>
              <pc:docMk/>
              <pc:sldMasterMk cId="0" sldId="2147483715"/>
              <pc:sldLayoutMk cId="197727015" sldId="2147483753"/>
              <ac:spMk id="8" creationId="{087EFA22-3F6E-4210-A8FC-0864CD1DE4EF}"/>
            </ac:spMkLst>
          </pc:spChg>
          <pc:spChg chg="add del">
            <ac:chgData name="Luca Ricci" userId="ee5f09d5-0832-4e68-94c9-d8bfd2ad04f0" providerId="ADAL" clId="{D501E5E2-574F-6542-B665-A334471D5578}" dt="2023-12-18T10:50:22.675" v="5925" actId="11529"/>
            <ac:spMkLst>
              <pc:docMk/>
              <pc:sldMasterMk cId="0" sldId="2147483715"/>
              <pc:sldLayoutMk cId="197727015" sldId="2147483753"/>
              <ac:spMk id="9" creationId="{DD0CEFA3-953D-A256-B8C2-D5C8A75743F0}"/>
            </ac:spMkLst>
          </pc:spChg>
          <pc:spChg chg="del mod">
            <ac:chgData name="Luca Ricci" userId="ee5f09d5-0832-4e68-94c9-d8bfd2ad04f0" providerId="ADAL" clId="{D501E5E2-574F-6542-B665-A334471D5578}" dt="2023-12-18T10:45:23.530" v="5454" actId="478"/>
            <ac:spMkLst>
              <pc:docMk/>
              <pc:sldMasterMk cId="0" sldId="2147483715"/>
              <pc:sldLayoutMk cId="197727015" sldId="2147483753"/>
              <ac:spMk id="10" creationId="{8739B1C3-A1A6-48E1-B2C4-F4CE3C824436}"/>
            </ac:spMkLst>
          </pc:spChg>
          <pc:spChg chg="add del mod">
            <ac:chgData name="Luca Ricci" userId="ee5f09d5-0832-4e68-94c9-d8bfd2ad04f0" providerId="ADAL" clId="{D501E5E2-574F-6542-B665-A334471D5578}" dt="2023-12-18T10:51:01.145" v="5931" actId="478"/>
            <ac:spMkLst>
              <pc:docMk/>
              <pc:sldMasterMk cId="0" sldId="2147483715"/>
              <pc:sldLayoutMk cId="197727015" sldId="2147483753"/>
              <ac:spMk id="11" creationId="{725956B1-3EF4-88B9-F6B3-A8F5AC36B792}"/>
            </ac:spMkLst>
          </pc:spChg>
          <pc:spChg chg="add del">
            <ac:chgData name="Luca Ricci" userId="ee5f09d5-0832-4e68-94c9-d8bfd2ad04f0" providerId="ADAL" clId="{D501E5E2-574F-6542-B665-A334471D5578}" dt="2023-12-18T11:00:38.887" v="6417"/>
            <ac:spMkLst>
              <pc:docMk/>
              <pc:sldMasterMk cId="0" sldId="2147483715"/>
              <pc:sldLayoutMk cId="197727015" sldId="2147483753"/>
              <ac:spMk id="14" creationId="{BDF262C8-30D5-474A-BD81-CA14ACCE51B5}"/>
            </ac:spMkLst>
          </pc:spChg>
          <pc:spChg chg="add del">
            <ac:chgData name="Luca Ricci" userId="ee5f09d5-0832-4e68-94c9-d8bfd2ad04f0" providerId="ADAL" clId="{D501E5E2-574F-6542-B665-A334471D5578}" dt="2023-12-18T11:00:38.887" v="6417"/>
            <ac:spMkLst>
              <pc:docMk/>
              <pc:sldMasterMk cId="0" sldId="2147483715"/>
              <pc:sldLayoutMk cId="197727015" sldId="2147483753"/>
              <ac:spMk id="15" creationId="{3F1C5DF9-A781-4661-8C3B-816A398ADFDD}"/>
            </ac:spMkLst>
          </pc:spChg>
          <pc:spChg chg="add del mod">
            <ac:chgData name="Luca Ricci" userId="ee5f09d5-0832-4e68-94c9-d8bfd2ad04f0" providerId="ADAL" clId="{D501E5E2-574F-6542-B665-A334471D5578}" dt="2023-12-18T11:01:08.413" v="6437" actId="478"/>
            <ac:spMkLst>
              <pc:docMk/>
              <pc:sldMasterMk cId="0" sldId="2147483715"/>
              <pc:sldLayoutMk cId="197727015" sldId="2147483753"/>
              <ac:spMk id="16" creationId="{7D277D05-EC8B-E405-337A-B6C1799834DA}"/>
            </ac:spMkLst>
          </pc:spChg>
          <pc:spChg chg="add del mod">
            <ac:chgData name="Luca Ricci" userId="ee5f09d5-0832-4e68-94c9-d8bfd2ad04f0" providerId="ADAL" clId="{D501E5E2-574F-6542-B665-A334471D5578}" dt="2023-12-18T11:00:40.998" v="6420" actId="767"/>
            <ac:spMkLst>
              <pc:docMk/>
              <pc:sldMasterMk cId="0" sldId="2147483715"/>
              <pc:sldLayoutMk cId="197727015" sldId="2147483753"/>
              <ac:spMk id="17" creationId="{57CCE7A6-D1F5-0782-EEAD-EBB4D456EA7D}"/>
            </ac:spMkLst>
          </pc:spChg>
          <pc:spChg chg="add del mod">
            <ac:chgData name="Luca Ricci" userId="ee5f09d5-0832-4e68-94c9-d8bfd2ad04f0" providerId="ADAL" clId="{D501E5E2-574F-6542-B665-A334471D5578}" dt="2023-12-18T11:00:39.716" v="6418"/>
            <ac:spMkLst>
              <pc:docMk/>
              <pc:sldMasterMk cId="0" sldId="2147483715"/>
              <pc:sldLayoutMk cId="197727015" sldId="2147483753"/>
              <ac:spMk id="18" creationId="{4CF1AA7D-4D66-3838-5AC1-639CD46D2E94}"/>
            </ac:spMkLst>
          </pc:spChg>
          <pc:spChg chg="add del">
            <ac:chgData name="Luca Ricci" userId="ee5f09d5-0832-4e68-94c9-d8bfd2ad04f0" providerId="ADAL" clId="{D501E5E2-574F-6542-B665-A334471D5578}" dt="2023-12-18T11:02:55.568" v="6439" actId="11529"/>
            <ac:spMkLst>
              <pc:docMk/>
              <pc:sldMasterMk cId="0" sldId="2147483715"/>
              <pc:sldLayoutMk cId="197727015" sldId="2147483753"/>
              <ac:spMk id="19" creationId="{9EF0997F-61F0-856B-F747-9B40F4BD4DBB}"/>
            </ac:spMkLst>
          </pc:spChg>
          <pc:spChg chg="add del mod">
            <ac:chgData name="Luca Ricci" userId="ee5f09d5-0832-4e68-94c9-d8bfd2ad04f0" providerId="ADAL" clId="{D501E5E2-574F-6542-B665-A334471D5578}" dt="2023-12-18T11:02:58.174" v="6440" actId="478"/>
            <ac:spMkLst>
              <pc:docMk/>
              <pc:sldMasterMk cId="0" sldId="2147483715"/>
              <pc:sldLayoutMk cId="197727015" sldId="2147483753"/>
              <ac:spMk id="20" creationId="{6144D6CA-4E49-2E44-5435-A583B2C21456}"/>
            </ac:spMkLst>
          </pc:spChg>
          <pc:spChg chg="add del mod">
            <ac:chgData name="Luca Ricci" userId="ee5f09d5-0832-4e68-94c9-d8bfd2ad04f0" providerId="ADAL" clId="{D501E5E2-574F-6542-B665-A334471D5578}" dt="2023-12-18T11:03:09.929" v="6443"/>
            <ac:spMkLst>
              <pc:docMk/>
              <pc:sldMasterMk cId="0" sldId="2147483715"/>
              <pc:sldLayoutMk cId="197727015" sldId="2147483753"/>
              <ac:spMk id="21" creationId="{3A689652-2D68-C2EE-E5F1-6F306F813244}"/>
            </ac:spMkLst>
          </pc:spChg>
          <pc:spChg chg="add del mod">
            <ac:chgData name="Luca Ricci" userId="ee5f09d5-0832-4e68-94c9-d8bfd2ad04f0" providerId="ADAL" clId="{D501E5E2-574F-6542-B665-A334471D5578}" dt="2023-12-18T11:03:40.945" v="6447"/>
            <ac:spMkLst>
              <pc:docMk/>
              <pc:sldMasterMk cId="0" sldId="2147483715"/>
              <pc:sldLayoutMk cId="197727015" sldId="2147483753"/>
              <ac:spMk id="22" creationId="{9B543D5A-7FBE-DC3D-E5B2-6E1E9147E9DA}"/>
            </ac:spMkLst>
          </pc:spChg>
          <pc:spChg chg="add mod">
            <ac:chgData name="Luca Ricci" userId="ee5f09d5-0832-4e68-94c9-d8bfd2ad04f0" providerId="ADAL" clId="{D501E5E2-574F-6542-B665-A334471D5578}" dt="2023-12-18T11:14:00.329" v="6976" actId="1076"/>
            <ac:spMkLst>
              <pc:docMk/>
              <pc:sldMasterMk cId="0" sldId="2147483715"/>
              <pc:sldLayoutMk cId="197727015" sldId="2147483753"/>
              <ac:spMk id="23" creationId="{2B85AA65-668F-A760-0BF5-086383CCE0F2}"/>
            </ac:spMkLst>
          </pc:spChg>
          <pc:spChg chg="add mod">
            <ac:chgData name="Luca Ricci" userId="ee5f09d5-0832-4e68-94c9-d8bfd2ad04f0" providerId="ADAL" clId="{D501E5E2-574F-6542-B665-A334471D5578}" dt="2023-12-18T18:14:45.046" v="11027" actId="20577"/>
            <ac:spMkLst>
              <pc:docMk/>
              <pc:sldMasterMk cId="0" sldId="2147483715"/>
              <pc:sldLayoutMk cId="197727015" sldId="2147483753"/>
              <ac:spMk id="25" creationId="{E19F9FB8-5294-E57F-CBFE-D1A6B4048FC7}"/>
            </ac:spMkLst>
          </pc:spChg>
          <pc:spChg chg="add del mod">
            <ac:chgData name="Luca Ricci" userId="ee5f09d5-0832-4e68-94c9-d8bfd2ad04f0" providerId="ADAL" clId="{D501E5E2-574F-6542-B665-A334471D5578}" dt="2023-12-18T11:10:35.382" v="6874" actId="478"/>
            <ac:spMkLst>
              <pc:docMk/>
              <pc:sldMasterMk cId="0" sldId="2147483715"/>
              <pc:sldLayoutMk cId="197727015" sldId="2147483753"/>
              <ac:spMk id="26" creationId="{AB750963-3A2A-DD81-A710-AA03AFC7452E}"/>
            </ac:spMkLst>
          </pc:spChg>
          <pc:spChg chg="add mod">
            <ac:chgData name="Luca Ricci" userId="ee5f09d5-0832-4e68-94c9-d8bfd2ad04f0" providerId="ADAL" clId="{D501E5E2-574F-6542-B665-A334471D5578}" dt="2023-12-18T13:42:59.504" v="7553" actId="1076"/>
            <ac:spMkLst>
              <pc:docMk/>
              <pc:sldMasterMk cId="0" sldId="2147483715"/>
              <pc:sldLayoutMk cId="197727015" sldId="2147483753"/>
              <ac:spMk id="27" creationId="{F5CEC03E-16AB-863B-452B-4B4C8B54FE14}"/>
            </ac:spMkLst>
          </pc:spChg>
          <pc:picChg chg="del mod">
            <ac:chgData name="Luca Ricci" userId="ee5f09d5-0832-4e68-94c9-d8bfd2ad04f0" providerId="ADAL" clId="{D501E5E2-574F-6542-B665-A334471D5578}" dt="2023-12-18T11:02:29.550" v="6438" actId="21"/>
            <ac:picMkLst>
              <pc:docMk/>
              <pc:sldMasterMk cId="0" sldId="2147483715"/>
              <pc:sldLayoutMk cId="197727015" sldId="2147483753"/>
              <ac:picMk id="4" creationId="{1D664F82-C381-42D9-B168-31F6D4282D28}"/>
            </ac:picMkLst>
          </pc:picChg>
          <pc:picChg chg="add mod">
            <ac:chgData name="Luca Ricci" userId="ee5f09d5-0832-4e68-94c9-d8bfd2ad04f0" providerId="ADAL" clId="{D501E5E2-574F-6542-B665-A334471D5578}" dt="2023-12-18T11:14:32.239" v="6982" actId="1076"/>
            <ac:picMkLst>
              <pc:docMk/>
              <pc:sldMasterMk cId="0" sldId="2147483715"/>
              <pc:sldLayoutMk cId="197727015" sldId="2147483753"/>
              <ac:picMk id="24" creationId="{DF98B2F7-BEAF-17E3-0C2E-7C9AB8F8F641}"/>
            </ac:picMkLst>
          </pc:picChg>
        </pc:sldLayoutChg>
        <pc:sldLayoutChg chg="setBg">
          <pc:chgData name="Luca Ricci" userId="ee5f09d5-0832-4e68-94c9-d8bfd2ad04f0" providerId="ADAL" clId="{D501E5E2-574F-6542-B665-A334471D5578}" dt="2023-12-18T08:29:40.456" v="455"/>
          <pc:sldLayoutMkLst>
            <pc:docMk/>
            <pc:sldMasterMk cId="0" sldId="2147483715"/>
            <pc:sldLayoutMk cId="3943257007" sldId="2147483754"/>
          </pc:sldLayoutMkLst>
        </pc:sldLayoutChg>
        <pc:sldLayoutChg chg="delSp mod">
          <pc:chgData name="Luca Ricci" userId="ee5f09d5-0832-4e68-94c9-d8bfd2ad04f0" providerId="ADAL" clId="{D501E5E2-574F-6542-B665-A334471D5578}" dt="2023-12-18T14:45:29.905" v="8473" actId="478"/>
          <pc:sldLayoutMkLst>
            <pc:docMk/>
            <pc:sldMasterMk cId="0" sldId="2147483715"/>
            <pc:sldLayoutMk cId="4192423285" sldId="2147483755"/>
          </pc:sldLayoutMkLst>
          <pc:spChg chg="del">
            <ac:chgData name="Luca Ricci" userId="ee5f09d5-0832-4e68-94c9-d8bfd2ad04f0" providerId="ADAL" clId="{D501E5E2-574F-6542-B665-A334471D5578}" dt="2023-12-18T14:45:29.905" v="8473" actId="478"/>
            <ac:spMkLst>
              <pc:docMk/>
              <pc:sldMasterMk cId="0" sldId="2147483715"/>
              <pc:sldLayoutMk cId="4192423285" sldId="2147483755"/>
              <ac:spMk id="9" creationId="{2E1A11AC-1395-4E21-827C-BF03F1350E73}"/>
            </ac:spMkLst>
          </pc:spChg>
          <pc:picChg chg="del">
            <ac:chgData name="Luca Ricci" userId="ee5f09d5-0832-4e68-94c9-d8bfd2ad04f0" providerId="ADAL" clId="{D501E5E2-574F-6542-B665-A334471D5578}" dt="2023-12-18T09:16:51.552" v="757" actId="478"/>
            <ac:picMkLst>
              <pc:docMk/>
              <pc:sldMasterMk cId="0" sldId="2147483715"/>
              <pc:sldLayoutMk cId="4192423285" sldId="2147483755"/>
              <ac:picMk id="14" creationId="{FDF9E41B-77CF-35CD-755A-23A3817718CA}"/>
            </ac:picMkLst>
          </pc:picChg>
        </pc:sldLayoutChg>
        <pc:sldLayoutChg chg="modSp mod setBg">
          <pc:chgData name="Luca Ricci" userId="ee5f09d5-0832-4e68-94c9-d8bfd2ad04f0" providerId="ADAL" clId="{D501E5E2-574F-6542-B665-A334471D5578}" dt="2023-12-18T08:38:20.598" v="465" actId="14100"/>
          <pc:sldLayoutMkLst>
            <pc:docMk/>
            <pc:sldMasterMk cId="0" sldId="2147483715"/>
            <pc:sldLayoutMk cId="114647271" sldId="2147483756"/>
          </pc:sldLayoutMkLst>
          <pc:spChg chg="mod">
            <ac:chgData name="Luca Ricci" userId="ee5f09d5-0832-4e68-94c9-d8bfd2ad04f0" providerId="ADAL" clId="{D501E5E2-574F-6542-B665-A334471D5578}" dt="2023-12-18T08:37:46.075" v="461" actId="207"/>
            <ac:spMkLst>
              <pc:docMk/>
              <pc:sldMasterMk cId="0" sldId="2147483715"/>
              <pc:sldLayoutMk cId="114647271" sldId="2147483756"/>
              <ac:spMk id="16" creationId="{63F28C96-D1D9-271E-B326-A1C4DC6BC78F}"/>
            </ac:spMkLst>
          </pc:spChg>
          <pc:picChg chg="mod">
            <ac:chgData name="Luca Ricci" userId="ee5f09d5-0832-4e68-94c9-d8bfd2ad04f0" providerId="ADAL" clId="{D501E5E2-574F-6542-B665-A334471D5578}" dt="2023-12-18T08:38:20.598" v="465" actId="14100"/>
            <ac:picMkLst>
              <pc:docMk/>
              <pc:sldMasterMk cId="0" sldId="2147483715"/>
              <pc:sldLayoutMk cId="114647271" sldId="2147483756"/>
              <ac:picMk id="14" creationId="{E2919660-0784-4B00-9836-7A6951590970}"/>
            </ac:picMkLst>
          </pc:picChg>
        </pc:sldLayoutChg>
        <pc:sldLayoutChg chg="del ord">
          <pc:chgData name="Luca Ricci" userId="ee5f09d5-0832-4e68-94c9-d8bfd2ad04f0" providerId="ADAL" clId="{D501E5E2-574F-6542-B665-A334471D5578}" dt="2023-12-18T11:03:35.750" v="6446" actId="2696"/>
          <pc:sldLayoutMkLst>
            <pc:docMk/>
            <pc:sldMasterMk cId="0" sldId="2147483715"/>
            <pc:sldLayoutMk cId="818623543" sldId="2147483757"/>
          </pc:sldLayoutMkLst>
        </pc:sldLayoutChg>
        <pc:sldLayoutChg chg="addSp delSp modSp mod setBg">
          <pc:chgData name="Luca Ricci" userId="ee5f09d5-0832-4e68-94c9-d8bfd2ad04f0" providerId="ADAL" clId="{D501E5E2-574F-6542-B665-A334471D5578}" dt="2023-12-18T09:00:45.695" v="481" actId="14826"/>
          <pc:sldLayoutMkLst>
            <pc:docMk/>
            <pc:sldMasterMk cId="0" sldId="2147483715"/>
            <pc:sldLayoutMk cId="4192423285" sldId="2147483757"/>
          </pc:sldLayoutMkLst>
          <pc:spChg chg="add mod">
            <ac:chgData name="Luca Ricci" userId="ee5f09d5-0832-4e68-94c9-d8bfd2ad04f0" providerId="ADAL" clId="{D501E5E2-574F-6542-B665-A334471D5578}" dt="2023-12-18T08:40:24.390" v="471" actId="14100"/>
            <ac:spMkLst>
              <pc:docMk/>
              <pc:sldMasterMk cId="0" sldId="2147483715"/>
              <pc:sldLayoutMk cId="4192423285" sldId="2147483757"/>
              <ac:spMk id="4" creationId="{F78FA4EE-1DD5-7407-0262-DA3A3C9AFF45}"/>
            </ac:spMkLst>
          </pc:spChg>
          <pc:spChg chg="add del mod">
            <ac:chgData name="Luca Ricci" userId="ee5f09d5-0832-4e68-94c9-d8bfd2ad04f0" providerId="ADAL" clId="{D501E5E2-574F-6542-B665-A334471D5578}" dt="2023-12-18T08:57:55.073" v="476" actId="478"/>
            <ac:spMkLst>
              <pc:docMk/>
              <pc:sldMasterMk cId="0" sldId="2147483715"/>
              <pc:sldLayoutMk cId="4192423285" sldId="2147483757"/>
              <ac:spMk id="12" creationId="{1AED7259-EB2D-36D9-A8B6-8D65CA8F23DB}"/>
            </ac:spMkLst>
          </pc:spChg>
          <pc:spChg chg="del mod">
            <ac:chgData name="Luca Ricci" userId="ee5f09d5-0832-4e68-94c9-d8bfd2ad04f0" providerId="ADAL" clId="{D501E5E2-574F-6542-B665-A334471D5578}" dt="2023-12-18T08:40:07.113" v="468" actId="478"/>
            <ac:spMkLst>
              <pc:docMk/>
              <pc:sldMasterMk cId="0" sldId="2147483715"/>
              <pc:sldLayoutMk cId="4192423285" sldId="2147483757"/>
              <ac:spMk id="27" creationId="{2B034C47-A659-3457-E1A7-79A7F521356A}"/>
            </ac:spMkLst>
          </pc:spChg>
          <pc:picChg chg="add mod">
            <ac:chgData name="Luca Ricci" userId="ee5f09d5-0832-4e68-94c9-d8bfd2ad04f0" providerId="ADAL" clId="{D501E5E2-574F-6542-B665-A334471D5578}" dt="2023-12-18T08:13:29.018" v="10"/>
            <ac:picMkLst>
              <pc:docMk/>
              <pc:sldMasterMk cId="0" sldId="2147483715"/>
              <pc:sldLayoutMk cId="4192423285" sldId="2147483757"/>
              <ac:picMk id="2" creationId="{C2AAC32F-0B7D-23A2-5C0D-7F4099862102}"/>
            </ac:picMkLst>
          </pc:picChg>
          <pc:picChg chg="add mod">
            <ac:chgData name="Luca Ricci" userId="ee5f09d5-0832-4e68-94c9-d8bfd2ad04f0" providerId="ADAL" clId="{D501E5E2-574F-6542-B665-A334471D5578}" dt="2023-12-18T09:00:45.695" v="481" actId="14826"/>
            <ac:picMkLst>
              <pc:docMk/>
              <pc:sldMasterMk cId="0" sldId="2147483715"/>
              <pc:sldLayoutMk cId="4192423285" sldId="2147483757"/>
              <ac:picMk id="14" creationId="{FDF9E41B-77CF-35CD-755A-23A3817718CA}"/>
            </ac:picMkLst>
          </pc:picChg>
          <pc:picChg chg="del">
            <ac:chgData name="Luca Ricci" userId="ee5f09d5-0832-4e68-94c9-d8bfd2ad04f0" providerId="ADAL" clId="{D501E5E2-574F-6542-B665-A334471D5578}" dt="2023-12-18T08:13:27.715" v="9" actId="478"/>
            <ac:picMkLst>
              <pc:docMk/>
              <pc:sldMasterMk cId="0" sldId="2147483715"/>
              <pc:sldLayoutMk cId="4192423285" sldId="2147483757"/>
              <ac:picMk id="20" creationId="{A2558C1A-A4CE-495C-941B-21CFE7DE6C24}"/>
            </ac:picMkLst>
          </pc:picChg>
        </pc:sldLayoutChg>
        <pc:sldLayoutChg chg="addSp delSp modSp mod setBg">
          <pc:chgData name="Luca Ricci" userId="ee5f09d5-0832-4e68-94c9-d8bfd2ad04f0" providerId="ADAL" clId="{D501E5E2-574F-6542-B665-A334471D5578}" dt="2023-12-18T09:13:03.054" v="697" actId="1076"/>
          <pc:sldLayoutMkLst>
            <pc:docMk/>
            <pc:sldMasterMk cId="0" sldId="2147483715"/>
            <pc:sldLayoutMk cId="2281391533" sldId="2147483758"/>
          </pc:sldLayoutMkLst>
          <pc:spChg chg="mod">
            <ac:chgData name="Luca Ricci" userId="ee5f09d5-0832-4e68-94c9-d8bfd2ad04f0" providerId="ADAL" clId="{D501E5E2-574F-6542-B665-A334471D5578}" dt="2023-12-18T08:37:33.241" v="459" actId="207"/>
            <ac:spMkLst>
              <pc:docMk/>
              <pc:sldMasterMk cId="0" sldId="2147483715"/>
              <pc:sldLayoutMk cId="2281391533" sldId="2147483758"/>
              <ac:spMk id="3" creationId="{2EA7ACC0-9174-0F6F-0B3E-9FE773D0A408}"/>
            </ac:spMkLst>
          </pc:spChg>
          <pc:picChg chg="add mod">
            <ac:chgData name="Luca Ricci" userId="ee5f09d5-0832-4e68-94c9-d8bfd2ad04f0" providerId="ADAL" clId="{D501E5E2-574F-6542-B665-A334471D5578}" dt="2023-12-18T08:13:33.224" v="12"/>
            <ac:picMkLst>
              <pc:docMk/>
              <pc:sldMasterMk cId="0" sldId="2147483715"/>
              <pc:sldLayoutMk cId="2281391533" sldId="2147483758"/>
              <ac:picMk id="7" creationId="{75564267-9319-13F8-EEAD-D9F259FB3603}"/>
            </ac:picMkLst>
          </pc:picChg>
          <pc:picChg chg="add mod">
            <ac:chgData name="Luca Ricci" userId="ee5f09d5-0832-4e68-94c9-d8bfd2ad04f0" providerId="ADAL" clId="{D501E5E2-574F-6542-B665-A334471D5578}" dt="2023-12-18T09:13:03.054" v="697" actId="1076"/>
            <ac:picMkLst>
              <pc:docMk/>
              <pc:sldMasterMk cId="0" sldId="2147483715"/>
              <pc:sldLayoutMk cId="2281391533" sldId="2147483758"/>
              <ac:picMk id="13" creationId="{14B40D43-B16A-95C2-5897-59812263EA21}"/>
            </ac:picMkLst>
          </pc:picChg>
          <pc:picChg chg="del">
            <ac:chgData name="Luca Ricci" userId="ee5f09d5-0832-4e68-94c9-d8bfd2ad04f0" providerId="ADAL" clId="{D501E5E2-574F-6542-B665-A334471D5578}" dt="2023-12-18T08:13:32.202" v="11" actId="478"/>
            <ac:picMkLst>
              <pc:docMk/>
              <pc:sldMasterMk cId="0" sldId="2147483715"/>
              <pc:sldLayoutMk cId="2281391533" sldId="2147483758"/>
              <ac:picMk id="20" creationId="{0090C8BE-0F32-4CF4-BB5D-F435E6072DCB}"/>
            </ac:picMkLst>
          </pc:picChg>
        </pc:sldLayoutChg>
      </pc:sldMasterChg>
      <pc:sldMasterChg chg="addSp modSldLayout">
        <pc:chgData name="Luca Ricci" userId="ee5f09d5-0832-4e68-94c9-d8bfd2ad04f0" providerId="ADAL" clId="{D501E5E2-574F-6542-B665-A334471D5578}" dt="2023-12-18T08:31:50.054" v="457"/>
        <pc:sldMasterMkLst>
          <pc:docMk/>
          <pc:sldMasterMk cId="2008708253" sldId="2147483757"/>
        </pc:sldMasterMkLst>
        <pc:spChg chg="add">
          <ac:chgData name="Luca Ricci" userId="ee5f09d5-0832-4e68-94c9-d8bfd2ad04f0" providerId="ADAL" clId="{D501E5E2-574F-6542-B665-A334471D5578}" dt="2023-12-18T08:31:36.749" v="456"/>
          <ac:spMkLst>
            <pc:docMk/>
            <pc:sldMasterMk cId="2008708253" sldId="2147483757"/>
            <ac:spMk id="7" creationId="{CD676044-3807-5874-7D51-B4767D8E762E}"/>
          </ac:spMkLst>
        </pc:spChg>
        <pc:spChg chg="add">
          <ac:chgData name="Luca Ricci" userId="ee5f09d5-0832-4e68-94c9-d8bfd2ad04f0" providerId="ADAL" clId="{D501E5E2-574F-6542-B665-A334471D5578}" dt="2023-12-18T08:31:36.749" v="456"/>
          <ac:spMkLst>
            <pc:docMk/>
            <pc:sldMasterMk cId="2008708253" sldId="2147483757"/>
            <ac:spMk id="9" creationId="{F013580E-98D9-588A-4D79-B71DAFA91A51}"/>
          </ac:spMkLst>
        </pc:spChg>
        <pc:picChg chg="add">
          <ac:chgData name="Luca Ricci" userId="ee5f09d5-0832-4e68-94c9-d8bfd2ad04f0" providerId="ADAL" clId="{D501E5E2-574F-6542-B665-A334471D5578}" dt="2023-12-18T08:31:36.749" v="456"/>
          <ac:picMkLst>
            <pc:docMk/>
            <pc:sldMasterMk cId="2008708253" sldId="2147483757"/>
            <ac:picMk id="10" creationId="{B56FBA6C-F62E-0C96-1D9B-100E4F4AC83E}"/>
          </ac:picMkLst>
        </pc:picChg>
        <pc:sldLayoutChg chg="addSp">
          <pc:chgData name="Luca Ricci" userId="ee5f09d5-0832-4e68-94c9-d8bfd2ad04f0" providerId="ADAL" clId="{D501E5E2-574F-6542-B665-A334471D5578}" dt="2023-12-18T08:31:36.749" v="456"/>
          <pc:sldLayoutMkLst>
            <pc:docMk/>
            <pc:sldMasterMk cId="2008708253" sldId="2147483757"/>
            <pc:sldLayoutMk cId="3059673449" sldId="2147483763"/>
          </pc:sldLayoutMkLst>
          <pc:spChg chg="add">
            <ac:chgData name="Luca Ricci" userId="ee5f09d5-0832-4e68-94c9-d8bfd2ad04f0" providerId="ADAL" clId="{D501E5E2-574F-6542-B665-A334471D5578}" dt="2023-12-18T08:31:36.749" v="456"/>
            <ac:spMkLst>
              <pc:docMk/>
              <pc:sldMasterMk cId="2008708253" sldId="2147483757"/>
              <pc:sldLayoutMk cId="3059673449" sldId="2147483763"/>
              <ac:spMk id="6" creationId="{BDD83863-94B7-C99C-4595-60638394055E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31:50.054" v="457"/>
          <pc:sldLayoutMkLst>
            <pc:docMk/>
            <pc:sldMasterMk cId="2008708253" sldId="2147483757"/>
            <pc:sldLayoutMk cId="1539184703" sldId="2147483770"/>
          </pc:sldLayoutMkLst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8" creationId="{9D9C4037-B0BC-4E62-B476-A41D0440655D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9" creationId="{DF1FB678-4F92-45E5-9B25-2B5FE93A0952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11" creationId="{7BEA6DD0-FBBB-494B-9C03-C447E71492A5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13" creationId="{295E96AB-B6AB-4A8B-A097-6438B2DA5C51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15" creationId="{0B3EC6CF-5868-40BD-BF1B-882B13F49F5C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17" creationId="{FE09BAC5-F3BC-4C51-A794-098F4099C052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19" creationId="{E695FB18-B641-433F-A03A-D58B93F377B4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21" creationId="{6F76DDB4-3F8E-4A82-B473-4784C9B20BC1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23" creationId="{2C326E6F-F54B-4E77-BCF5-73E6B02466B0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31:50.054" v="457"/>
          <pc:sldLayoutMkLst>
            <pc:docMk/>
            <pc:sldMasterMk cId="2008708253" sldId="2147483757"/>
            <pc:sldLayoutMk cId="1461110984" sldId="2147483771"/>
          </pc:sldLayoutMkLst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461110984" sldId="2147483771"/>
              <ac:spMk id="6" creationId="{45591D6F-6D52-44E5-B3AA-2575CCD45201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461110984" sldId="2147483771"/>
              <ac:spMk id="7" creationId="{8182E335-5A52-4E3C-BCEC-9507D81BA511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461110984" sldId="2147483771"/>
              <ac:spMk id="10" creationId="{8739B1C3-A1A6-48E1-B2C4-F4CE3C824436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461110984" sldId="2147483771"/>
              <ac:spMk id="12" creationId="{C7038F66-C11F-4566-ADAF-A099AF957551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461110984" sldId="2147483771"/>
              <ac:spMk id="13" creationId="{E0318986-8EA2-446A-AFF2-E8441C3AF8A6}"/>
            </ac:spMkLst>
          </pc:spChg>
        </pc:sldLayoutChg>
      </pc:sldMasterChg>
      <pc:sldMasterChg chg="addSp modSldLayout">
        <pc:chgData name="Luca Ricci" userId="ee5f09d5-0832-4e68-94c9-d8bfd2ad04f0" providerId="ADAL" clId="{D501E5E2-574F-6542-B665-A334471D5578}" dt="2023-12-18T08:26:43.228" v="441"/>
        <pc:sldMasterMkLst>
          <pc:docMk/>
          <pc:sldMasterMk cId="2439023528" sldId="2147483757"/>
        </pc:sldMasterMkLst>
        <pc:spChg chg="add">
          <ac:chgData name="Luca Ricci" userId="ee5f09d5-0832-4e68-94c9-d8bfd2ad04f0" providerId="ADAL" clId="{D501E5E2-574F-6542-B665-A334471D5578}" dt="2023-12-18T08:26:38.917" v="440"/>
          <ac:spMkLst>
            <pc:docMk/>
            <pc:sldMasterMk cId="2439023528" sldId="2147483757"/>
            <ac:spMk id="8" creationId="{EA9C3011-FB2B-BFF3-8805-65DD44A255E2}"/>
          </ac:spMkLst>
        </pc:spChg>
        <pc:spChg chg="add">
          <ac:chgData name="Luca Ricci" userId="ee5f09d5-0832-4e68-94c9-d8bfd2ad04f0" providerId="ADAL" clId="{D501E5E2-574F-6542-B665-A334471D5578}" dt="2023-12-18T08:26:38.917" v="440"/>
          <ac:spMkLst>
            <pc:docMk/>
            <pc:sldMasterMk cId="2439023528" sldId="2147483757"/>
            <ac:spMk id="9" creationId="{B2784A38-2B5B-5CF3-10D6-4C3D9EA1EB25}"/>
          </ac:spMkLst>
        </pc:spChg>
        <pc:picChg chg="add">
          <ac:chgData name="Luca Ricci" userId="ee5f09d5-0832-4e68-94c9-d8bfd2ad04f0" providerId="ADAL" clId="{D501E5E2-574F-6542-B665-A334471D5578}" dt="2023-12-18T08:26:38.917" v="440"/>
          <ac:picMkLst>
            <pc:docMk/>
            <pc:sldMasterMk cId="2439023528" sldId="2147483757"/>
            <ac:picMk id="10" creationId="{E11FF2DC-F675-3C31-3734-771340FC4814}"/>
          </ac:picMkLst>
        </pc:picChg>
        <pc:sldLayoutChg chg="addSp">
          <pc:chgData name="Luca Ricci" userId="ee5f09d5-0832-4e68-94c9-d8bfd2ad04f0" providerId="ADAL" clId="{D501E5E2-574F-6542-B665-A334471D5578}" dt="2023-12-18T08:26:38.917" v="440"/>
          <pc:sldLayoutMkLst>
            <pc:docMk/>
            <pc:sldMasterMk cId="2439023528" sldId="2147483757"/>
            <pc:sldLayoutMk cId="3986506277" sldId="2147483763"/>
          </pc:sldLayoutMkLst>
          <pc:spChg chg="add">
            <ac:chgData name="Luca Ricci" userId="ee5f09d5-0832-4e68-94c9-d8bfd2ad04f0" providerId="ADAL" clId="{D501E5E2-574F-6542-B665-A334471D5578}" dt="2023-12-18T08:26:38.917" v="440"/>
            <ac:spMkLst>
              <pc:docMk/>
              <pc:sldMasterMk cId="2439023528" sldId="2147483757"/>
              <pc:sldLayoutMk cId="3986506277" sldId="2147483763"/>
              <ac:spMk id="6" creationId="{C495DA99-6503-E6C9-656C-28B8D9588449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26:43.228" v="441"/>
          <pc:sldLayoutMkLst>
            <pc:docMk/>
            <pc:sldMasterMk cId="2439023528" sldId="2147483757"/>
            <pc:sldLayoutMk cId="1348555779" sldId="2147483770"/>
          </pc:sldLayoutMkLst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8" creationId="{9D9C4037-B0BC-4E62-B476-A41D0440655D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9" creationId="{DF1FB678-4F92-45E5-9B25-2B5FE93A0952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11" creationId="{7BEA6DD0-FBBB-494B-9C03-C447E71492A5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13" creationId="{295E96AB-B6AB-4A8B-A097-6438B2DA5C51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15" creationId="{0B3EC6CF-5868-40BD-BF1B-882B13F49F5C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17" creationId="{FE09BAC5-F3BC-4C51-A794-098F4099C052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19" creationId="{E695FB18-B641-433F-A03A-D58B93F377B4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21" creationId="{6F76DDB4-3F8E-4A82-B473-4784C9B20BC1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23" creationId="{2C326E6F-F54B-4E77-BCF5-73E6B02466B0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26:43.228" v="441"/>
          <pc:sldLayoutMkLst>
            <pc:docMk/>
            <pc:sldMasterMk cId="2439023528" sldId="2147483757"/>
            <pc:sldLayoutMk cId="1168032543" sldId="2147483771"/>
          </pc:sldLayoutMkLst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168032543" sldId="2147483771"/>
              <ac:spMk id="6" creationId="{45591D6F-6D52-44E5-B3AA-2575CCD45201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168032543" sldId="2147483771"/>
              <ac:spMk id="7" creationId="{8182E335-5A52-4E3C-BCEC-9507D81BA511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168032543" sldId="2147483771"/>
              <ac:spMk id="10" creationId="{8739B1C3-A1A6-48E1-B2C4-F4CE3C824436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168032543" sldId="2147483771"/>
              <ac:spMk id="12" creationId="{C7038F66-C11F-4566-ADAF-A099AF957551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168032543" sldId="2147483771"/>
              <ac:spMk id="13" creationId="{E0318986-8EA2-446A-AFF2-E8441C3AF8A6}"/>
            </ac:spMkLst>
          </pc:spChg>
        </pc:sldLayoutChg>
      </pc:sldMasterChg>
      <pc:sldMasterChg chg="addSp modSldLayout">
        <pc:chgData name="Luca Ricci" userId="ee5f09d5-0832-4e68-94c9-d8bfd2ad04f0" providerId="ADAL" clId="{D501E5E2-574F-6542-B665-A334471D5578}" dt="2023-12-18T08:27:25.758" v="452"/>
        <pc:sldMasterMkLst>
          <pc:docMk/>
          <pc:sldMasterMk cId="3244851779" sldId="2147483757"/>
        </pc:sldMasterMkLst>
        <pc:spChg chg="add">
          <ac:chgData name="Luca Ricci" userId="ee5f09d5-0832-4e68-94c9-d8bfd2ad04f0" providerId="ADAL" clId="{D501E5E2-574F-6542-B665-A334471D5578}" dt="2023-12-18T08:27:18.781" v="445"/>
          <ac:spMkLst>
            <pc:docMk/>
            <pc:sldMasterMk cId="3244851779" sldId="2147483757"/>
            <ac:spMk id="7" creationId="{859AE944-056A-001F-7328-7B21399710C6}"/>
          </ac:spMkLst>
        </pc:spChg>
        <pc:spChg chg="add">
          <ac:chgData name="Luca Ricci" userId="ee5f09d5-0832-4e68-94c9-d8bfd2ad04f0" providerId="ADAL" clId="{D501E5E2-574F-6542-B665-A334471D5578}" dt="2023-12-18T08:27:18.781" v="445"/>
          <ac:spMkLst>
            <pc:docMk/>
            <pc:sldMasterMk cId="3244851779" sldId="2147483757"/>
            <ac:spMk id="8" creationId="{22A24F6D-0327-5083-9D0F-1494C85F09A0}"/>
          </ac:spMkLst>
        </pc:spChg>
        <pc:picChg chg="add">
          <ac:chgData name="Luca Ricci" userId="ee5f09d5-0832-4e68-94c9-d8bfd2ad04f0" providerId="ADAL" clId="{D501E5E2-574F-6542-B665-A334471D5578}" dt="2023-12-18T08:27:18.781" v="445"/>
          <ac:picMkLst>
            <pc:docMk/>
            <pc:sldMasterMk cId="3244851779" sldId="2147483757"/>
            <ac:picMk id="12" creationId="{12A851E9-E73D-8DFA-5483-629A470DF9E3}"/>
          </ac:picMkLst>
        </pc:picChg>
        <pc:sldLayoutChg chg="addSp">
          <pc:chgData name="Luca Ricci" userId="ee5f09d5-0832-4e68-94c9-d8bfd2ad04f0" providerId="ADAL" clId="{D501E5E2-574F-6542-B665-A334471D5578}" dt="2023-12-18T08:27:18.781" v="445"/>
          <pc:sldLayoutMkLst>
            <pc:docMk/>
            <pc:sldMasterMk cId="3244851779" sldId="2147483757"/>
            <pc:sldLayoutMk cId="3269021797" sldId="2147483763"/>
          </pc:sldLayoutMkLst>
          <pc:spChg chg="add">
            <ac:chgData name="Luca Ricci" userId="ee5f09d5-0832-4e68-94c9-d8bfd2ad04f0" providerId="ADAL" clId="{D501E5E2-574F-6542-B665-A334471D5578}" dt="2023-12-18T08:27:18.781" v="445"/>
            <ac:spMkLst>
              <pc:docMk/>
              <pc:sldMasterMk cId="3244851779" sldId="2147483757"/>
              <pc:sldLayoutMk cId="3269021797" sldId="2147483763"/>
              <ac:spMk id="2" creationId="{BBE44E9C-4A97-0459-E8A7-D27000835B84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27:25.758" v="452"/>
          <pc:sldLayoutMkLst>
            <pc:docMk/>
            <pc:sldMasterMk cId="3244851779" sldId="2147483757"/>
            <pc:sldLayoutMk cId="2605336192" sldId="2147483770"/>
          </pc:sldLayoutMkLst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8" creationId="{9D9C4037-B0BC-4E62-B476-A41D0440655D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9" creationId="{DF1FB678-4F92-45E5-9B25-2B5FE93A0952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11" creationId="{7BEA6DD0-FBBB-494B-9C03-C447E71492A5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13" creationId="{295E96AB-B6AB-4A8B-A097-6438B2DA5C51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15" creationId="{0B3EC6CF-5868-40BD-BF1B-882B13F49F5C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17" creationId="{FE09BAC5-F3BC-4C51-A794-098F4099C052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19" creationId="{E695FB18-B641-433F-A03A-D58B93F377B4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21" creationId="{6F76DDB4-3F8E-4A82-B473-4784C9B20BC1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23" creationId="{2C326E6F-F54B-4E77-BCF5-73E6B02466B0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27:25.758" v="452"/>
          <pc:sldLayoutMkLst>
            <pc:docMk/>
            <pc:sldMasterMk cId="3244851779" sldId="2147483757"/>
            <pc:sldLayoutMk cId="514128480" sldId="2147483771"/>
          </pc:sldLayoutMkLst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514128480" sldId="2147483771"/>
              <ac:spMk id="6" creationId="{45591D6F-6D52-44E5-B3AA-2575CCD45201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514128480" sldId="2147483771"/>
              <ac:spMk id="7" creationId="{8182E335-5A52-4E3C-BCEC-9507D81BA511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514128480" sldId="2147483771"/>
              <ac:spMk id="10" creationId="{8739B1C3-A1A6-48E1-B2C4-F4CE3C824436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514128480" sldId="2147483771"/>
              <ac:spMk id="12" creationId="{C7038F66-C11F-4566-ADAF-A099AF957551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514128480" sldId="2147483771"/>
              <ac:spMk id="13" creationId="{E0318986-8EA2-446A-AFF2-E8441C3AF8A6}"/>
            </ac:spMkLst>
          </pc:spChg>
        </pc:sldLayoutChg>
      </pc:sldMasterChg>
      <pc:sldMasterChg chg="new add del mod addSldLayout delSldLayout">
        <pc:chgData name="Luca Ricci" userId="ee5f09d5-0832-4e68-94c9-d8bfd2ad04f0" providerId="ADAL" clId="{D501E5E2-574F-6542-B665-A334471D5578}" dt="2023-12-18T11:00:37.739" v="6416" actId="6938"/>
        <pc:sldMasterMkLst>
          <pc:docMk/>
          <pc:sldMasterMk cId="4224928084" sldId="2147483757"/>
        </pc:sldMasterMkLst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249204022" sldId="2147483758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1109224301" sldId="2147483759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2938004223" sldId="2147483760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3409106740" sldId="2147483761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3158473068" sldId="2147483762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3740108472" sldId="2147483763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3751421800" sldId="2147483764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3029705949" sldId="2147483765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727952664" sldId="2147483766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1044000589" sldId="2147483767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68681359" sldId="2147483768"/>
          </pc:sldLayoutMkLst>
        </pc:sldLayoutChg>
      </pc:sldMasterChg>
      <pc:sldMasterChg chg="addSp modSldLayout">
        <pc:chgData name="Luca Ricci" userId="ee5f09d5-0832-4e68-94c9-d8bfd2ad04f0" providerId="ADAL" clId="{D501E5E2-574F-6542-B665-A334471D5578}" dt="2023-12-18T08:27:21.980" v="447"/>
        <pc:sldMasterMkLst>
          <pc:docMk/>
          <pc:sldMasterMk cId="2244155654" sldId="2147483772"/>
        </pc:sldMasterMkLst>
        <pc:spChg chg="add">
          <ac:chgData name="Luca Ricci" userId="ee5f09d5-0832-4e68-94c9-d8bfd2ad04f0" providerId="ADAL" clId="{D501E5E2-574F-6542-B665-A334471D5578}" dt="2023-12-18T08:27:21.980" v="447"/>
          <ac:spMkLst>
            <pc:docMk/>
            <pc:sldMasterMk cId="2244155654" sldId="2147483772"/>
            <ac:spMk id="7" creationId="{ACC54F18-B65C-DECD-30A6-C2D13F9D5532}"/>
          </ac:spMkLst>
        </pc:spChg>
        <pc:spChg chg="add">
          <ac:chgData name="Luca Ricci" userId="ee5f09d5-0832-4e68-94c9-d8bfd2ad04f0" providerId="ADAL" clId="{D501E5E2-574F-6542-B665-A334471D5578}" dt="2023-12-18T08:27:21.980" v="447"/>
          <ac:spMkLst>
            <pc:docMk/>
            <pc:sldMasterMk cId="2244155654" sldId="2147483772"/>
            <ac:spMk id="8" creationId="{1A733346-F995-4A7F-A695-438AD86EAF54}"/>
          </ac:spMkLst>
        </pc:spChg>
        <pc:picChg chg="add">
          <ac:chgData name="Luca Ricci" userId="ee5f09d5-0832-4e68-94c9-d8bfd2ad04f0" providerId="ADAL" clId="{D501E5E2-574F-6542-B665-A334471D5578}" dt="2023-12-18T08:27:21.980" v="447"/>
          <ac:picMkLst>
            <pc:docMk/>
            <pc:sldMasterMk cId="2244155654" sldId="2147483772"/>
            <ac:picMk id="9" creationId="{A1DDBAE3-69F7-BF17-41E2-D9AEB42B4997}"/>
          </ac:picMkLst>
        </pc:picChg>
        <pc:sldLayoutChg chg="addSp">
          <pc:chgData name="Luca Ricci" userId="ee5f09d5-0832-4e68-94c9-d8bfd2ad04f0" providerId="ADAL" clId="{D501E5E2-574F-6542-B665-A334471D5578}" dt="2023-12-18T08:27:21.980" v="447"/>
          <pc:sldLayoutMkLst>
            <pc:docMk/>
            <pc:sldMasterMk cId="2244155654" sldId="2147483772"/>
            <pc:sldLayoutMk cId="1608651427" sldId="2147483778"/>
          </pc:sldLayoutMkLst>
          <pc:spChg chg="add">
            <ac:chgData name="Luca Ricci" userId="ee5f09d5-0832-4e68-94c9-d8bfd2ad04f0" providerId="ADAL" clId="{D501E5E2-574F-6542-B665-A334471D5578}" dt="2023-12-18T08:27:21.980" v="447"/>
            <ac:spMkLst>
              <pc:docMk/>
              <pc:sldMasterMk cId="2244155654" sldId="2147483772"/>
              <pc:sldLayoutMk cId="1608651427" sldId="2147483778"/>
              <ac:spMk id="6" creationId="{13795B8F-CCC8-AE03-E14E-A39353485841}"/>
            </ac:spMkLst>
          </pc:spChg>
        </pc:sldLayoutChg>
      </pc:sldMasterChg>
    </pc:docChg>
  </pc:docChgLst>
  <pc:docChgLst>
    <pc:chgData name="Luca Ricci" userId="ee5f09d5-0832-4e68-94c9-d8bfd2ad04f0" providerId="ADAL" clId="{F3F70FB2-95DD-B847-876B-923D773418E8}"/>
    <pc:docChg chg="undo custSel modSld">
      <pc:chgData name="Luca Ricci" userId="ee5f09d5-0832-4e68-94c9-d8bfd2ad04f0" providerId="ADAL" clId="{F3F70FB2-95DD-B847-876B-923D773418E8}" dt="2024-01-24T12:14:17.214" v="1995" actId="20577"/>
      <pc:docMkLst>
        <pc:docMk/>
      </pc:docMkLst>
      <pc:sldChg chg="addSp modSp mod modNotesTx">
        <pc:chgData name="Luca Ricci" userId="ee5f09d5-0832-4e68-94c9-d8bfd2ad04f0" providerId="ADAL" clId="{F3F70FB2-95DD-B847-876B-923D773418E8}" dt="2024-01-24T11:27:27.479" v="1849" actId="20577"/>
        <pc:sldMkLst>
          <pc:docMk/>
          <pc:sldMk cId="4109715435" sldId="313"/>
        </pc:sldMkLst>
        <pc:spChg chg="mod">
          <ac:chgData name="Luca Ricci" userId="ee5f09d5-0832-4e68-94c9-d8bfd2ad04f0" providerId="ADAL" clId="{F3F70FB2-95DD-B847-876B-923D773418E8}" dt="2024-01-24T11:27:27.479" v="1849" actId="20577"/>
          <ac:spMkLst>
            <pc:docMk/>
            <pc:sldMk cId="4109715435" sldId="313"/>
            <ac:spMk id="7" creationId="{8ED043E4-ED32-1DA9-33FC-E4B34D009A79}"/>
          </ac:spMkLst>
        </pc:spChg>
        <pc:picChg chg="add mod">
          <ac:chgData name="Luca Ricci" userId="ee5f09d5-0832-4e68-94c9-d8bfd2ad04f0" providerId="ADAL" clId="{F3F70FB2-95DD-B847-876B-923D773418E8}" dt="2024-01-24T11:10:02.159" v="908" actId="14826"/>
          <ac:picMkLst>
            <pc:docMk/>
            <pc:sldMk cId="4109715435" sldId="313"/>
            <ac:picMk id="6" creationId="{D37BEAA7-4947-D58A-0AB1-0CF1468F6DBA}"/>
          </ac:picMkLst>
        </pc:picChg>
      </pc:sldChg>
      <pc:sldChg chg="modSp">
        <pc:chgData name="Luca Ricci" userId="ee5f09d5-0832-4e68-94c9-d8bfd2ad04f0" providerId="ADAL" clId="{F3F70FB2-95DD-B847-876B-923D773418E8}" dt="2024-01-24T11:10:02.159" v="908" actId="14826"/>
        <pc:sldMkLst>
          <pc:docMk/>
          <pc:sldMk cId="2059814184" sldId="314"/>
        </pc:sldMkLst>
        <pc:spChg chg="mod">
          <ac:chgData name="Luca Ricci" userId="ee5f09d5-0832-4e68-94c9-d8bfd2ad04f0" providerId="ADAL" clId="{F3F70FB2-95DD-B847-876B-923D773418E8}" dt="2024-01-24T11:10:02.159" v="908" actId="14826"/>
          <ac:spMkLst>
            <pc:docMk/>
            <pc:sldMk cId="2059814184" sldId="314"/>
            <ac:spMk id="5" creationId="{455070FB-8C32-F7F3-CE34-8A53AF8479B2}"/>
          </ac:spMkLst>
        </pc:spChg>
      </pc:sldChg>
      <pc:sldChg chg="modSp mod">
        <pc:chgData name="Luca Ricci" userId="ee5f09d5-0832-4e68-94c9-d8bfd2ad04f0" providerId="ADAL" clId="{F3F70FB2-95DD-B847-876B-923D773418E8}" dt="2024-01-24T12:14:17.214" v="1995" actId="20577"/>
        <pc:sldMkLst>
          <pc:docMk/>
          <pc:sldMk cId="2060001824" sldId="316"/>
        </pc:sldMkLst>
        <pc:spChg chg="mod">
          <ac:chgData name="Luca Ricci" userId="ee5f09d5-0832-4e68-94c9-d8bfd2ad04f0" providerId="ADAL" clId="{F3F70FB2-95DD-B847-876B-923D773418E8}" dt="2024-01-24T12:14:17.214" v="1995" actId="20577"/>
          <ac:spMkLst>
            <pc:docMk/>
            <pc:sldMk cId="2060001824" sldId="316"/>
            <ac:spMk id="5" creationId="{4D8C1AFE-9FC8-D964-65F9-2D18A5E0163C}"/>
          </ac:spMkLst>
        </pc:spChg>
      </pc:sldChg>
      <pc:sldChg chg="modNotesTx">
        <pc:chgData name="Luca Ricci" userId="ee5f09d5-0832-4e68-94c9-d8bfd2ad04f0" providerId="ADAL" clId="{F3F70FB2-95DD-B847-876B-923D773418E8}" dt="2024-01-24T11:28:26.623" v="1991" actId="20577"/>
        <pc:sldMkLst>
          <pc:docMk/>
          <pc:sldMk cId="4110969131" sldId="317"/>
        </pc:sldMkLst>
      </pc:sldChg>
    </pc:docChg>
  </pc:docChgLst>
  <pc:docChgLst>
    <pc:chgData name="Gabriele Zanoletti" userId="fc6666fa-3441-4ddc-a8b9-f69fbbdf5644" providerId="ADAL" clId="{62353DCA-C895-479A-B15A-153889A74D3C}"/>
    <pc:docChg chg="undo custSel modSld">
      <pc:chgData name="Gabriele Zanoletti" userId="fc6666fa-3441-4ddc-a8b9-f69fbbdf5644" providerId="ADAL" clId="{62353DCA-C895-479A-B15A-153889A74D3C}" dt="2024-01-24T22:46:25.249" v="3063"/>
      <pc:docMkLst>
        <pc:docMk/>
      </pc:docMkLst>
      <pc:sldChg chg="modNotesTx">
        <pc:chgData name="Gabriele Zanoletti" userId="fc6666fa-3441-4ddc-a8b9-f69fbbdf5644" providerId="ADAL" clId="{62353DCA-C895-479A-B15A-153889A74D3C}" dt="2024-01-24T22:46:25.249" v="3063"/>
        <pc:sldMkLst>
          <pc:docMk/>
          <pc:sldMk cId="895135860" sldId="257"/>
        </pc:sldMkLst>
      </pc:sldChg>
      <pc:sldChg chg="modNotesTx">
        <pc:chgData name="Gabriele Zanoletti" userId="fc6666fa-3441-4ddc-a8b9-f69fbbdf5644" providerId="ADAL" clId="{62353DCA-C895-479A-B15A-153889A74D3C}" dt="2024-01-24T21:14:20.060" v="812" actId="20577"/>
        <pc:sldMkLst>
          <pc:docMk/>
          <pc:sldMk cId="3601296254" sldId="258"/>
        </pc:sldMkLst>
      </pc:sldChg>
      <pc:sldChg chg="modNotesTx">
        <pc:chgData name="Gabriele Zanoletti" userId="fc6666fa-3441-4ddc-a8b9-f69fbbdf5644" providerId="ADAL" clId="{62353DCA-C895-479A-B15A-153889A74D3C}" dt="2024-01-24T21:16:10.389" v="840" actId="20577"/>
        <pc:sldMkLst>
          <pc:docMk/>
          <pc:sldMk cId="994454846" sldId="291"/>
        </pc:sldMkLst>
      </pc:sldChg>
      <pc:sldChg chg="addSp delSp mod modNotesTx">
        <pc:chgData name="Gabriele Zanoletti" userId="fc6666fa-3441-4ddc-a8b9-f69fbbdf5644" providerId="ADAL" clId="{62353DCA-C895-479A-B15A-153889A74D3C}" dt="2024-01-24T21:18:02.422" v="880" actId="20577"/>
        <pc:sldMkLst>
          <pc:docMk/>
          <pc:sldMk cId="3241623441" sldId="292"/>
        </pc:sldMkLst>
        <pc:spChg chg="add del">
          <ac:chgData name="Gabriele Zanoletti" userId="fc6666fa-3441-4ddc-a8b9-f69fbbdf5644" providerId="ADAL" clId="{62353DCA-C895-479A-B15A-153889A74D3C}" dt="2024-01-24T21:16:41.539" v="842" actId="22"/>
          <ac:spMkLst>
            <pc:docMk/>
            <pc:sldMk cId="3241623441" sldId="292"/>
            <ac:spMk id="7" creationId="{77C9FEA5-E52B-47A7-412A-47821187B3FF}"/>
          </ac:spMkLst>
        </pc:spChg>
      </pc:sldChg>
      <pc:sldChg chg="addSp delSp mod modNotesTx">
        <pc:chgData name="Gabriele Zanoletti" userId="fc6666fa-3441-4ddc-a8b9-f69fbbdf5644" providerId="ADAL" clId="{62353DCA-C895-479A-B15A-153889A74D3C}" dt="2024-01-24T21:19:02.544" v="894" actId="20577"/>
        <pc:sldMkLst>
          <pc:docMk/>
          <pc:sldMk cId="692283471" sldId="293"/>
        </pc:sldMkLst>
        <pc:spChg chg="add del">
          <ac:chgData name="Gabriele Zanoletti" userId="fc6666fa-3441-4ddc-a8b9-f69fbbdf5644" providerId="ADAL" clId="{62353DCA-C895-479A-B15A-153889A74D3C}" dt="2024-01-24T21:18:27.540" v="882" actId="22"/>
          <ac:spMkLst>
            <pc:docMk/>
            <pc:sldMk cId="692283471" sldId="293"/>
            <ac:spMk id="6" creationId="{4826B78A-D5EE-97BE-37B3-AAE0ABFAB5D5}"/>
          </ac:spMkLst>
        </pc:spChg>
      </pc:sldChg>
      <pc:sldChg chg="modNotesTx">
        <pc:chgData name="Gabriele Zanoletti" userId="fc6666fa-3441-4ddc-a8b9-f69fbbdf5644" providerId="ADAL" clId="{62353DCA-C895-479A-B15A-153889A74D3C}" dt="2024-01-24T21:20:47.543" v="922" actId="20577"/>
        <pc:sldMkLst>
          <pc:docMk/>
          <pc:sldMk cId="2858633819" sldId="294"/>
        </pc:sldMkLst>
      </pc:sldChg>
      <pc:sldChg chg="modNotesTx">
        <pc:chgData name="Gabriele Zanoletti" userId="fc6666fa-3441-4ddc-a8b9-f69fbbdf5644" providerId="ADAL" clId="{62353DCA-C895-479A-B15A-153889A74D3C}" dt="2024-01-24T21:25:55.345" v="984" actId="20577"/>
        <pc:sldMkLst>
          <pc:docMk/>
          <pc:sldMk cId="1570471128" sldId="296"/>
        </pc:sldMkLst>
      </pc:sldChg>
      <pc:sldChg chg="modNotesTx">
        <pc:chgData name="Gabriele Zanoletti" userId="fc6666fa-3441-4ddc-a8b9-f69fbbdf5644" providerId="ADAL" clId="{62353DCA-C895-479A-B15A-153889A74D3C}" dt="2024-01-24T21:26:25.158" v="1001" actId="20577"/>
        <pc:sldMkLst>
          <pc:docMk/>
          <pc:sldMk cId="1604505303" sldId="297"/>
        </pc:sldMkLst>
      </pc:sldChg>
      <pc:sldChg chg="modNotesTx">
        <pc:chgData name="Gabriele Zanoletti" userId="fc6666fa-3441-4ddc-a8b9-f69fbbdf5644" providerId="ADAL" clId="{62353DCA-C895-479A-B15A-153889A74D3C}" dt="2024-01-24T21:38:42.554" v="1526" actId="20577"/>
        <pc:sldMkLst>
          <pc:docMk/>
          <pc:sldMk cId="1968516981" sldId="301"/>
        </pc:sldMkLst>
      </pc:sldChg>
      <pc:sldChg chg="modNotesTx">
        <pc:chgData name="Gabriele Zanoletti" userId="fc6666fa-3441-4ddc-a8b9-f69fbbdf5644" providerId="ADAL" clId="{62353DCA-C895-479A-B15A-153889A74D3C}" dt="2024-01-24T21:40:51.526" v="1550" actId="20577"/>
        <pc:sldMkLst>
          <pc:docMk/>
          <pc:sldMk cId="3837282433" sldId="302"/>
        </pc:sldMkLst>
      </pc:sldChg>
      <pc:sldChg chg="modNotesTx">
        <pc:chgData name="Gabriele Zanoletti" userId="fc6666fa-3441-4ddc-a8b9-f69fbbdf5644" providerId="ADAL" clId="{62353DCA-C895-479A-B15A-153889A74D3C}" dt="2024-01-24T21:41:36.546" v="1562" actId="20577"/>
        <pc:sldMkLst>
          <pc:docMk/>
          <pc:sldMk cId="786950877" sldId="303"/>
        </pc:sldMkLst>
      </pc:sldChg>
      <pc:sldChg chg="addSp delSp modSp mod modNotesTx">
        <pc:chgData name="Gabriele Zanoletti" userId="fc6666fa-3441-4ddc-a8b9-f69fbbdf5644" providerId="ADAL" clId="{62353DCA-C895-479A-B15A-153889A74D3C}" dt="2024-01-24T21:42:35.326" v="1581" actId="20577"/>
        <pc:sldMkLst>
          <pc:docMk/>
          <pc:sldMk cId="4147670638" sldId="304"/>
        </pc:sldMkLst>
        <pc:spChg chg="mod">
          <ac:chgData name="Gabriele Zanoletti" userId="fc6666fa-3441-4ddc-a8b9-f69fbbdf5644" providerId="ADAL" clId="{62353DCA-C895-479A-B15A-153889A74D3C}" dt="2024-01-24T19:11:25.886" v="31" actId="1076"/>
          <ac:spMkLst>
            <pc:docMk/>
            <pc:sldMk cId="4147670638" sldId="304"/>
            <ac:spMk id="2" creationId="{06675B17-37D5-6F32-A9A2-60EF4BB95C5E}"/>
          </ac:spMkLst>
        </pc:spChg>
        <pc:picChg chg="del">
          <ac:chgData name="Gabriele Zanoletti" userId="fc6666fa-3441-4ddc-a8b9-f69fbbdf5644" providerId="ADAL" clId="{62353DCA-C895-479A-B15A-153889A74D3C}" dt="2024-01-24T19:11:30.629" v="33" actId="478"/>
          <ac:picMkLst>
            <pc:docMk/>
            <pc:sldMk cId="4147670638" sldId="304"/>
            <ac:picMk id="7" creationId="{D180DF65-E1D6-19AE-3679-246BD75F1FC2}"/>
          </ac:picMkLst>
        </pc:picChg>
        <pc:picChg chg="add mod">
          <ac:chgData name="Gabriele Zanoletti" userId="fc6666fa-3441-4ddc-a8b9-f69fbbdf5644" providerId="ADAL" clId="{62353DCA-C895-479A-B15A-153889A74D3C}" dt="2024-01-24T19:11:38.567" v="67" actId="1038"/>
          <ac:picMkLst>
            <pc:docMk/>
            <pc:sldMk cId="4147670638" sldId="304"/>
            <ac:picMk id="8" creationId="{42C37590-7083-DAFC-391E-C22F26B04BD3}"/>
          </ac:picMkLst>
        </pc:picChg>
      </pc:sldChg>
      <pc:sldChg chg="modNotesTx">
        <pc:chgData name="Gabriele Zanoletti" userId="fc6666fa-3441-4ddc-a8b9-f69fbbdf5644" providerId="ADAL" clId="{62353DCA-C895-479A-B15A-153889A74D3C}" dt="2024-01-24T21:45:21.840" v="1609" actId="20577"/>
        <pc:sldMkLst>
          <pc:docMk/>
          <pc:sldMk cId="2129748764" sldId="305"/>
        </pc:sldMkLst>
      </pc:sldChg>
      <pc:sldChg chg="modSp modNotesTx">
        <pc:chgData name="Gabriele Zanoletti" userId="fc6666fa-3441-4ddc-a8b9-f69fbbdf5644" providerId="ADAL" clId="{62353DCA-C895-479A-B15A-153889A74D3C}" dt="2024-01-24T21:44:25.471" v="1600" actId="20577"/>
        <pc:sldMkLst>
          <pc:docMk/>
          <pc:sldMk cId="4004401706" sldId="306"/>
        </pc:sldMkLst>
        <pc:spChg chg="mod">
          <ac:chgData name="Gabriele Zanoletti" userId="fc6666fa-3441-4ddc-a8b9-f69fbbdf5644" providerId="ADAL" clId="{62353DCA-C895-479A-B15A-153889A74D3C}" dt="2024-01-24T21:44:25.471" v="1600" actId="20577"/>
          <ac:spMkLst>
            <pc:docMk/>
            <pc:sldMk cId="4004401706" sldId="306"/>
            <ac:spMk id="5" creationId="{F202072E-E5BB-41E3-28BB-7119B8E72D45}"/>
          </ac:spMkLst>
        </pc:spChg>
      </pc:sldChg>
      <pc:sldChg chg="modNotesTx">
        <pc:chgData name="Gabriele Zanoletti" userId="fc6666fa-3441-4ddc-a8b9-f69fbbdf5644" providerId="ADAL" clId="{62353DCA-C895-479A-B15A-153889A74D3C}" dt="2024-01-24T21:47:28.679" v="1628" actId="20577"/>
        <pc:sldMkLst>
          <pc:docMk/>
          <pc:sldMk cId="3230328343" sldId="307"/>
        </pc:sldMkLst>
      </pc:sldChg>
      <pc:sldChg chg="modNotesTx">
        <pc:chgData name="Gabriele Zanoletti" userId="fc6666fa-3441-4ddc-a8b9-f69fbbdf5644" providerId="ADAL" clId="{62353DCA-C895-479A-B15A-153889A74D3C}" dt="2024-01-24T21:47:56.130" v="1632" actId="20577"/>
        <pc:sldMkLst>
          <pc:docMk/>
          <pc:sldMk cId="3362905413" sldId="308"/>
        </pc:sldMkLst>
      </pc:sldChg>
      <pc:sldChg chg="modNotesTx">
        <pc:chgData name="Gabriele Zanoletti" userId="fc6666fa-3441-4ddc-a8b9-f69fbbdf5644" providerId="ADAL" clId="{62353DCA-C895-479A-B15A-153889A74D3C}" dt="2024-01-24T21:54:03.161" v="1739" actId="20577"/>
        <pc:sldMkLst>
          <pc:docMk/>
          <pc:sldMk cId="3056404990" sldId="310"/>
        </pc:sldMkLst>
      </pc:sldChg>
      <pc:sldChg chg="modNotesTx">
        <pc:chgData name="Gabriele Zanoletti" userId="fc6666fa-3441-4ddc-a8b9-f69fbbdf5644" providerId="ADAL" clId="{62353DCA-C895-479A-B15A-153889A74D3C}" dt="2024-01-24T22:32:49.389" v="2654"/>
        <pc:sldMkLst>
          <pc:docMk/>
          <pc:sldMk cId="2059814184" sldId="314"/>
        </pc:sldMkLst>
      </pc:sldChg>
      <pc:sldChg chg="modNotesTx">
        <pc:chgData name="Gabriele Zanoletti" userId="fc6666fa-3441-4ddc-a8b9-f69fbbdf5644" providerId="ADAL" clId="{62353DCA-C895-479A-B15A-153889A74D3C}" dt="2024-01-24T22:34:49.896" v="2671" actId="20577"/>
        <pc:sldMkLst>
          <pc:docMk/>
          <pc:sldMk cId="3439177903" sldId="315"/>
        </pc:sldMkLst>
      </pc:sldChg>
      <pc:sldChg chg="modNotesTx">
        <pc:chgData name="Gabriele Zanoletti" userId="fc6666fa-3441-4ddc-a8b9-f69fbbdf5644" providerId="ADAL" clId="{62353DCA-C895-479A-B15A-153889A74D3C}" dt="2024-01-24T22:39:45.252" v="2989" actId="20577"/>
        <pc:sldMkLst>
          <pc:docMk/>
          <pc:sldMk cId="2060001824" sldId="316"/>
        </pc:sldMkLst>
      </pc:sldChg>
      <pc:sldChg chg="modSp mod modNotesTx">
        <pc:chgData name="Gabriele Zanoletti" userId="fc6666fa-3441-4ddc-a8b9-f69fbbdf5644" providerId="ADAL" clId="{62353DCA-C895-479A-B15A-153889A74D3C}" dt="2024-01-24T22:38:21.114" v="2882" actId="20577"/>
        <pc:sldMkLst>
          <pc:docMk/>
          <pc:sldMk cId="4110969131" sldId="317"/>
        </pc:sldMkLst>
        <pc:spChg chg="mod">
          <ac:chgData name="Gabriele Zanoletti" userId="fc6666fa-3441-4ddc-a8b9-f69fbbdf5644" providerId="ADAL" clId="{62353DCA-C895-479A-B15A-153889A74D3C}" dt="2024-01-24T22:36:28.240" v="2703" actId="20577"/>
          <ac:spMkLst>
            <pc:docMk/>
            <pc:sldMk cId="4110969131" sldId="317"/>
            <ac:spMk id="7" creationId="{D824FBDC-48AD-8E79-49CA-B3208ABD485D}"/>
          </ac:spMkLst>
        </pc:spChg>
      </pc:sldChg>
      <pc:sldChg chg="modNotesTx">
        <pc:chgData name="Gabriele Zanoletti" userId="fc6666fa-3441-4ddc-a8b9-f69fbbdf5644" providerId="ADAL" clId="{62353DCA-C895-479A-B15A-153889A74D3C}" dt="2024-01-24T22:41:35.888" v="2991" actId="20577"/>
        <pc:sldMkLst>
          <pc:docMk/>
          <pc:sldMk cId="2600840893" sldId="319"/>
        </pc:sldMkLst>
      </pc:sldChg>
      <pc:sldChg chg="modNotesTx">
        <pc:chgData name="Gabriele Zanoletti" userId="fc6666fa-3441-4ddc-a8b9-f69fbbdf5644" providerId="ADAL" clId="{62353DCA-C895-479A-B15A-153889A74D3C}" dt="2024-01-24T22:43:42.779" v="3002" actId="20577"/>
        <pc:sldMkLst>
          <pc:docMk/>
          <pc:sldMk cId="2371849535" sldId="320"/>
        </pc:sldMkLst>
      </pc:sldChg>
      <pc:sldChg chg="modNotesTx">
        <pc:chgData name="Gabriele Zanoletti" userId="fc6666fa-3441-4ddc-a8b9-f69fbbdf5644" providerId="ADAL" clId="{62353DCA-C895-479A-B15A-153889A74D3C}" dt="2024-01-24T21:28:22.533" v="1133" actId="20577"/>
        <pc:sldMkLst>
          <pc:docMk/>
          <pc:sldMk cId="902660526" sldId="322"/>
        </pc:sldMkLst>
      </pc:sldChg>
      <pc:sldChg chg="modNotesTx">
        <pc:chgData name="Gabriele Zanoletti" userId="fc6666fa-3441-4ddc-a8b9-f69fbbdf5644" providerId="ADAL" clId="{62353DCA-C895-479A-B15A-153889A74D3C}" dt="2024-01-24T21:46:06.976" v="1610"/>
        <pc:sldMkLst>
          <pc:docMk/>
          <pc:sldMk cId="3702300545" sldId="323"/>
        </pc:sldMkLst>
      </pc:sldChg>
      <pc:sldChg chg="modNotesTx">
        <pc:chgData name="Gabriele Zanoletti" userId="fc6666fa-3441-4ddc-a8b9-f69fbbdf5644" providerId="ADAL" clId="{62353DCA-C895-479A-B15A-153889A74D3C}" dt="2024-01-24T22:32:53.550" v="2655"/>
        <pc:sldMkLst>
          <pc:docMk/>
          <pc:sldMk cId="2885120835" sldId="324"/>
        </pc:sldMkLst>
      </pc:sldChg>
      <pc:sldChg chg="modNotesTx">
        <pc:chgData name="Gabriele Zanoletti" userId="fc6666fa-3441-4ddc-a8b9-f69fbbdf5644" providerId="ADAL" clId="{62353DCA-C895-479A-B15A-153889A74D3C}" dt="2024-01-24T22:43:59.001" v="3003"/>
        <pc:sldMkLst>
          <pc:docMk/>
          <pc:sldMk cId="2835239964" sldId="325"/>
        </pc:sldMkLst>
      </pc:sldChg>
      <pc:sldChg chg="modNotesTx">
        <pc:chgData name="Gabriele Zanoletti" userId="fc6666fa-3441-4ddc-a8b9-f69fbbdf5644" providerId="ADAL" clId="{62353DCA-C895-479A-B15A-153889A74D3C}" dt="2024-01-24T22:46:05.184" v="3036" actId="20577"/>
        <pc:sldMkLst>
          <pc:docMk/>
          <pc:sldMk cId="1343076952" sldId="326"/>
        </pc:sldMkLst>
      </pc:sldChg>
      <pc:sldChg chg="modNotesTx">
        <pc:chgData name="Gabriele Zanoletti" userId="fc6666fa-3441-4ddc-a8b9-f69fbbdf5644" providerId="ADAL" clId="{62353DCA-C895-479A-B15A-153889A74D3C}" dt="2024-01-24T21:23:10.552" v="952" actId="20577"/>
        <pc:sldMkLst>
          <pc:docMk/>
          <pc:sldMk cId="897985928" sldId="332"/>
        </pc:sldMkLst>
      </pc:sldChg>
      <pc:sldChg chg="modSp mod modNotesTx">
        <pc:chgData name="Gabriele Zanoletti" userId="fc6666fa-3441-4ddc-a8b9-f69fbbdf5644" providerId="ADAL" clId="{62353DCA-C895-479A-B15A-153889A74D3C}" dt="2024-01-24T21:34:41.141" v="1313" actId="20577"/>
        <pc:sldMkLst>
          <pc:docMk/>
          <pc:sldMk cId="1171648230" sldId="333"/>
        </pc:sldMkLst>
        <pc:spChg chg="mod">
          <ac:chgData name="Gabriele Zanoletti" userId="fc6666fa-3441-4ddc-a8b9-f69fbbdf5644" providerId="ADAL" clId="{62353DCA-C895-479A-B15A-153889A74D3C}" dt="2024-01-24T19:07:01.906" v="1" actId="20577"/>
          <ac:spMkLst>
            <pc:docMk/>
            <pc:sldMk cId="1171648230" sldId="333"/>
            <ac:spMk id="9" creationId="{E3501211-943E-D7DB-4B3A-FE3E784A94F5}"/>
          </ac:spMkLst>
        </pc:spChg>
      </pc:sldChg>
      <pc:sldChg chg="modNotesTx">
        <pc:chgData name="Gabriele Zanoletti" userId="fc6666fa-3441-4ddc-a8b9-f69fbbdf5644" providerId="ADAL" clId="{62353DCA-C895-479A-B15A-153889A74D3C}" dt="2024-01-24T22:46:20.941" v="3062" actId="20577"/>
        <pc:sldMkLst>
          <pc:docMk/>
          <pc:sldMk cId="1998290092" sldId="334"/>
        </pc:sldMkLst>
      </pc:sldChg>
      <pc:sldChg chg="modNotesTx">
        <pc:chgData name="Gabriele Zanoletti" userId="fc6666fa-3441-4ddc-a8b9-f69fbbdf5644" providerId="ADAL" clId="{62353DCA-C895-479A-B15A-153889A74D3C}" dt="2024-01-24T21:49:50.697" v="1634" actId="20577"/>
        <pc:sldMkLst>
          <pc:docMk/>
          <pc:sldMk cId="2832553207" sldId="335"/>
        </pc:sldMkLst>
      </pc:sldChg>
      <pc:sldChg chg="modNotesTx">
        <pc:chgData name="Gabriele Zanoletti" userId="fc6666fa-3441-4ddc-a8b9-f69fbbdf5644" providerId="ADAL" clId="{62353DCA-C895-479A-B15A-153889A74D3C}" dt="2024-01-24T21:58:55.134" v="1745"/>
        <pc:sldMkLst>
          <pc:docMk/>
          <pc:sldMk cId="349029065" sldId="336"/>
        </pc:sldMkLst>
      </pc:sldChg>
      <pc:sldChg chg="modNotesTx">
        <pc:chgData name="Gabriele Zanoletti" userId="fc6666fa-3441-4ddc-a8b9-f69fbbdf5644" providerId="ADAL" clId="{62353DCA-C895-479A-B15A-153889A74D3C}" dt="2024-01-24T21:51:13.635" v="1636" actId="20577"/>
        <pc:sldMkLst>
          <pc:docMk/>
          <pc:sldMk cId="3040321551" sldId="337"/>
        </pc:sldMkLst>
      </pc:sldChg>
      <pc:sldChg chg="modNotesTx">
        <pc:chgData name="Gabriele Zanoletti" userId="fc6666fa-3441-4ddc-a8b9-f69fbbdf5644" providerId="ADAL" clId="{62353DCA-C895-479A-B15A-153889A74D3C}" dt="2024-01-24T22:32:22.085" v="2653" actId="20577"/>
        <pc:sldMkLst>
          <pc:docMk/>
          <pc:sldMk cId="3682762768" sldId="338"/>
        </pc:sldMkLst>
      </pc:sldChg>
      <pc:sldChg chg="modNotesTx">
        <pc:chgData name="Gabriele Zanoletti" userId="fc6666fa-3441-4ddc-a8b9-f69fbbdf5644" providerId="ADAL" clId="{62353DCA-C895-479A-B15A-153889A74D3C}" dt="2024-01-24T22:17:07.270" v="2366" actId="20577"/>
        <pc:sldMkLst>
          <pc:docMk/>
          <pc:sldMk cId="1233919258" sldId="340"/>
        </pc:sldMkLst>
      </pc:sldChg>
      <pc:sldChg chg="modNotesTx">
        <pc:chgData name="Gabriele Zanoletti" userId="fc6666fa-3441-4ddc-a8b9-f69fbbdf5644" providerId="ADAL" clId="{62353DCA-C895-479A-B15A-153889A74D3C}" dt="2024-01-24T22:14:02.830" v="2352" actId="20577"/>
        <pc:sldMkLst>
          <pc:docMk/>
          <pc:sldMk cId="2889248117" sldId="341"/>
        </pc:sldMkLst>
      </pc:sldChg>
      <pc:sldChg chg="modNotesTx">
        <pc:chgData name="Gabriele Zanoletti" userId="fc6666fa-3441-4ddc-a8b9-f69fbbdf5644" providerId="ADAL" clId="{62353DCA-C895-479A-B15A-153889A74D3C}" dt="2024-01-24T22:19:27.654" v="2369" actId="20577"/>
        <pc:sldMkLst>
          <pc:docMk/>
          <pc:sldMk cId="3557329851" sldId="343"/>
        </pc:sldMkLst>
      </pc:sldChg>
      <pc:sldChg chg="modNotesTx">
        <pc:chgData name="Gabriele Zanoletti" userId="fc6666fa-3441-4ddc-a8b9-f69fbbdf5644" providerId="ADAL" clId="{62353DCA-C895-479A-B15A-153889A74D3C}" dt="2024-01-24T22:23:09.753" v="2390" actId="20577"/>
        <pc:sldMkLst>
          <pc:docMk/>
          <pc:sldMk cId="556406102" sldId="344"/>
        </pc:sldMkLst>
      </pc:sldChg>
      <pc:sldChg chg="modNotesTx">
        <pc:chgData name="Gabriele Zanoletti" userId="fc6666fa-3441-4ddc-a8b9-f69fbbdf5644" providerId="ADAL" clId="{62353DCA-C895-479A-B15A-153889A74D3C}" dt="2024-01-24T22:05:18.968" v="2245" actId="20577"/>
        <pc:sldMkLst>
          <pc:docMk/>
          <pc:sldMk cId="782384403" sldId="345"/>
        </pc:sldMkLst>
      </pc:sldChg>
      <pc:sldChg chg="modSp mod modNotesTx">
        <pc:chgData name="Gabriele Zanoletti" userId="fc6666fa-3441-4ddc-a8b9-f69fbbdf5644" providerId="ADAL" clId="{62353DCA-C895-479A-B15A-153889A74D3C}" dt="2024-01-24T21:34:56.829" v="1314"/>
        <pc:sldMkLst>
          <pc:docMk/>
          <pc:sldMk cId="977858740" sldId="346"/>
        </pc:sldMkLst>
        <pc:spChg chg="mod">
          <ac:chgData name="Gabriele Zanoletti" userId="fc6666fa-3441-4ddc-a8b9-f69fbbdf5644" providerId="ADAL" clId="{62353DCA-C895-479A-B15A-153889A74D3C}" dt="2024-01-24T19:07:18.449" v="3" actId="20577"/>
          <ac:spMkLst>
            <pc:docMk/>
            <pc:sldMk cId="977858740" sldId="346"/>
            <ac:spMk id="9" creationId="{19292DEC-E042-C94B-D5E2-2199F0015849}"/>
          </ac:spMkLst>
        </pc:spChg>
      </pc:sldChg>
      <pc:sldChg chg="modNotesTx">
        <pc:chgData name="Gabriele Zanoletti" userId="fc6666fa-3441-4ddc-a8b9-f69fbbdf5644" providerId="ADAL" clId="{62353DCA-C895-479A-B15A-153889A74D3C}" dt="2024-01-24T21:13:34.440" v="810" actId="20577"/>
        <pc:sldMkLst>
          <pc:docMk/>
          <pc:sldMk cId="252918147" sldId="347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04.xml"/><Relationship Id="rId3" Type="http://schemas.openxmlformats.org/officeDocument/2006/relationships/tags" Target="../tags/tag199.xml"/><Relationship Id="rId7" Type="http://schemas.openxmlformats.org/officeDocument/2006/relationships/tags" Target="../tags/tag203.xml"/><Relationship Id="rId12" Type="http://schemas.openxmlformats.org/officeDocument/2006/relationships/image" Target="../media/image2.png"/><Relationship Id="rId2" Type="http://schemas.openxmlformats.org/officeDocument/2006/relationships/tags" Target="../tags/tag198.xml"/><Relationship Id="rId1" Type="http://schemas.openxmlformats.org/officeDocument/2006/relationships/theme" Target="../theme/theme3.xml"/><Relationship Id="rId6" Type="http://schemas.openxmlformats.org/officeDocument/2006/relationships/tags" Target="../tags/tag202.xml"/><Relationship Id="rId11" Type="http://schemas.openxmlformats.org/officeDocument/2006/relationships/tags" Target="../tags/tag207.xml"/><Relationship Id="rId5" Type="http://schemas.openxmlformats.org/officeDocument/2006/relationships/tags" Target="../tags/tag201.xml"/><Relationship Id="rId10" Type="http://schemas.openxmlformats.org/officeDocument/2006/relationships/tags" Target="../tags/tag206.xml"/><Relationship Id="rId4" Type="http://schemas.openxmlformats.org/officeDocument/2006/relationships/tags" Target="../tags/tag200.xml"/><Relationship Id="rId9" Type="http://schemas.openxmlformats.org/officeDocument/2006/relationships/tags" Target="../tags/tag20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200">
                <a:latin typeface="Tahoma" pitchFamily="34" charset="0"/>
              </a:defRPr>
            </a:lvl1pPr>
          </a:lstStyle>
          <a:p>
            <a:endParaRPr lang="en-US" sz="100">
              <a:noFill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ooter Placeholder" hidden="1"/>
          <p:cNvSpPr>
            <a:spLocks noGrp="1"/>
          </p:cNvSpPr>
          <p:nvPr>
            <p:ph type="ftr" sz="quarter" idx="2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/>
            </a:lvl1pPr>
          </a:lstStyle>
          <a:p>
            <a:pPr algn="ctr"/>
            <a:r>
              <a:rPr lang="en-US"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pPr algn="ctr"/>
            <a:r>
              <a:rPr lang="en-US" sz="100" b="1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9" name="Date Placeholder" hidden="1"/>
          <p:cNvSpPr>
            <a:spLocks noGrp="1"/>
          </p:cNvSpPr>
          <p:nvPr>
            <p:ph type="dt" sz="quarter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 algn="l"/>
            <a:r>
              <a:rPr lang="en-US"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0-09-28</a:t>
            </a:r>
          </a:p>
          <a:p>
            <a:pPr algn="l"/>
            <a:endParaRPr lang="en-US" sz="100">
              <a:noFill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3"/>
          </p:nvPr>
        </p:nvSpPr>
        <p:spPr>
          <a:xfrm>
            <a:off x="5997922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fld id="{4F5EA4BF-E9AE-43AF-B3B0-E8B2B4D213BF}" type="slidenum">
              <a:rPr lang="en-US" sz="80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pPr/>
              <a:t>‹#›</a:t>
            </a:fld>
            <a:endParaRPr lang="en-US" sz="80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AB77BC53-8E05-4977-B193-6A6AD69A870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89310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8A3F532B-9233-4B6C-A1AE-20F78C1A46B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37922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707F235E-2AB2-45AA-AAE4-3CA5D9E6B28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89310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5B6337D7-EF4A-437B-98C9-7A76CBDDE79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</a:p>
        </p:txBody>
      </p:sp>
      <p:sp>
        <p:nvSpPr>
          <p:cNvPr id="16" name="empower_classification_attention_placeholder" hidden="1">
            <a:extLst>
              <a:ext uri="{FF2B5EF4-FFF2-40B4-BE49-F238E27FC236}">
                <a16:creationId xmlns:a16="http://schemas.microsoft.com/office/drawing/2014/main" id="{07AA87B6-2D72-4228-A7D0-DDCA437050BF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empower_classification_placeholder">
            <a:extLst>
              <a:ext uri="{FF2B5EF4-FFF2-40B4-BE49-F238E27FC236}">
                <a16:creationId xmlns:a16="http://schemas.microsoft.com/office/drawing/2014/main" id="{162FD7ED-CC36-4F26-ADD4-95B9EFF2AE3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4" name="empower_date_placeholder">
            <a:extLst>
              <a:ext uri="{FF2B5EF4-FFF2-40B4-BE49-F238E27FC236}">
                <a16:creationId xmlns:a16="http://schemas.microsoft.com/office/drawing/2014/main" id="{17C46F5C-5E8F-4CC2-80E6-B88261E13B5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89309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8 Mrz 2023</a:t>
            </a:r>
          </a:p>
        </p:txBody>
      </p:sp>
      <p:pic>
        <p:nvPicPr>
          <p:cNvPr id="26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94286928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94.xml"/><Relationship Id="rId3" Type="http://schemas.openxmlformats.org/officeDocument/2006/relationships/tags" Target="../tags/tag189.xml"/><Relationship Id="rId7" Type="http://schemas.openxmlformats.org/officeDocument/2006/relationships/tags" Target="../tags/tag193.xml"/><Relationship Id="rId12" Type="http://schemas.openxmlformats.org/officeDocument/2006/relationships/image" Target="../media/image2.png"/><Relationship Id="rId2" Type="http://schemas.openxmlformats.org/officeDocument/2006/relationships/tags" Target="../tags/tag188.xml"/><Relationship Id="rId1" Type="http://schemas.openxmlformats.org/officeDocument/2006/relationships/theme" Target="../theme/theme2.xml"/><Relationship Id="rId6" Type="http://schemas.openxmlformats.org/officeDocument/2006/relationships/tags" Target="../tags/tag192.xml"/><Relationship Id="rId11" Type="http://schemas.openxmlformats.org/officeDocument/2006/relationships/tags" Target="../tags/tag197.xml"/><Relationship Id="rId5" Type="http://schemas.openxmlformats.org/officeDocument/2006/relationships/tags" Target="../tags/tag191.xml"/><Relationship Id="rId10" Type="http://schemas.openxmlformats.org/officeDocument/2006/relationships/tags" Target="../tags/tag196.xml"/><Relationship Id="rId4" Type="http://schemas.openxmlformats.org/officeDocument/2006/relationships/tags" Target="../tags/tag190.xml"/><Relationship Id="rId9" Type="http://schemas.openxmlformats.org/officeDocument/2006/relationships/tags" Target="../tags/tag19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6" name="Slide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4025" y="1012825"/>
            <a:ext cx="6191250" cy="34829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84997" name="Notes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53306" y="4757266"/>
            <a:ext cx="6191968" cy="4783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nter Notes</a:t>
            </a:r>
          </a:p>
        </p:txBody>
      </p:sp>
      <p:sp>
        <p:nvSpPr>
          <p:cNvPr id="28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00">
                <a:noFill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sz="100"/>
          </a:p>
        </p:txBody>
      </p:sp>
      <p:sp>
        <p:nvSpPr>
          <p:cNvPr id="10" name="Footer Placeholder" hidden="1"/>
          <p:cNvSpPr>
            <a:spLocks noGrp="1"/>
          </p:cNvSpPr>
          <p:nvPr>
            <p:ph type="ftr" sz="quarter" idx="4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">
                <a:noFill/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11" name="Date Placeholder" hidden="1"/>
          <p:cNvSpPr>
            <a:spLocks noGrp="1"/>
          </p:cNvSpPr>
          <p:nvPr>
            <p:ph type="dt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12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6033274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92828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E8AE2277-2635-47CE-8461-F921E010AD6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53306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1ED6373F-3656-4DFD-9B9C-BC0ABABA2CB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73274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3D3123B4-E08C-4CCD-9703-AD1F689F1FB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53306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7E51E007-F5B3-45C7-900F-9B0FFE9F37F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</a:p>
        </p:txBody>
      </p:sp>
      <p:sp>
        <p:nvSpPr>
          <p:cNvPr id="6" name="empower_classification_attention_placeholder" hidden="1">
            <a:extLst>
              <a:ext uri="{FF2B5EF4-FFF2-40B4-BE49-F238E27FC236}">
                <a16:creationId xmlns:a16="http://schemas.microsoft.com/office/drawing/2014/main" id="{CD1E0C77-9862-4B96-A3C1-8F3320EB5330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7" name="empower_classification_placeholder">
            <a:extLst>
              <a:ext uri="{FF2B5EF4-FFF2-40B4-BE49-F238E27FC236}">
                <a16:creationId xmlns:a16="http://schemas.microsoft.com/office/drawing/2014/main" id="{9F464BB7-63C3-4B8A-A50E-5FC32FA6A18F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8" name="empower_date_placeholder">
            <a:extLst>
              <a:ext uri="{FF2B5EF4-FFF2-40B4-BE49-F238E27FC236}">
                <a16:creationId xmlns:a16="http://schemas.microsoft.com/office/drawing/2014/main" id="{7E930412-6BBA-43BF-B0D5-11DDE46E471E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3306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8 Mrz 2023</a:t>
            </a:r>
          </a:p>
        </p:txBody>
      </p:sp>
      <p:pic>
        <p:nvPicPr>
          <p:cNvPr id="32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2300418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609585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2pPr>
    <a:lvl3pPr marL="1219170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3pPr>
    <a:lvl4pPr marL="1828754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4pPr>
    <a:lvl5pPr marL="2438339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98B57D-5C5E-BCF7-3BED-EC57CC950D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605BCA1-130F-E149-8154-8004FD3DC04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A6D892E-1649-9D22-0C25-B5AA17A9F60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D1EE3B0D-4950-441E-6358-F8F570CD751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E8779A-6A9C-8434-4F1B-715A10DD21F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90F37B4-5EB4-D756-BCAC-41A2B0A6593F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32074E8-B47B-7345-2311-E3ACE3849F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04542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80B27E-6B39-E938-0235-8F2C5DF27E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BF69C03-0DC9-EECC-A303-B0FB87983A2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199BDB0-D2DC-AD90-F4C4-9A242DB9E7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B5D8CDD5-0BE5-15DA-95FF-E1F89070E495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CF8B57-2A1D-C9FF-544D-D5751EA1B76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523A06F-91F9-F583-01AC-13847AE26416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4813AC-05AE-53F2-712A-A79D5695B98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3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643701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252D69-79FB-D7C2-B7BE-3C546F4C87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B0604BA-B8F9-7B72-354D-FC000583A52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F785499-9331-875B-DE84-E5331C12C0F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69BA8A91-E59C-EAC9-3BE5-819A80714050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26B093-22B6-6BF8-0458-1BD7F6E9860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C4F25F2-C196-E68C-9C97-C50701E17204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610B136-DDA7-2136-FC35-62FFAA6FD5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4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504609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3FA2E7-B623-9130-5392-BD5A2DDC50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8413F52-CD58-111F-65E7-8D4D602224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3623455-FDA0-DFD6-56B9-CFB45664EAE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0D331A2A-F240-7150-FE45-15E6FF094438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F82F2A-B39B-9C4C-0B11-9EFD4251826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57CAE14-FE26-57A2-4DEE-0E36BDDA7220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1783CEF-969C-12C1-12F3-A4292EA9D81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5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641600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76CC36-B900-C08F-074A-6C0B686BE1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976DAB8-CDA5-95F2-A0E3-85C70D25F4D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915FAF8-880D-368F-FF90-F343979FA3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1C44BD0B-CF97-8710-C6A7-45A1BC511F5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886BFB-6B1B-84A9-FB06-BA5AFEE0011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875DAB4-271C-15DB-C8C9-4D4853882C67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377223E-2530-11F9-A61E-45E5C77BB83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6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519020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7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27389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05526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6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10454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D5862B-1B0E-ABE3-79B5-E7DBE4A3C0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62EAB87-7181-05E4-3B4E-E62974D8CB4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32A3820-4022-9BCF-AA9E-01EAC3CD23F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015B73BD-703A-4D06-8AE4-5BAFDABAB58C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74CA3F-1750-A3B6-191D-4E2A15B5183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F5158BE-3F3A-AAFF-0D0B-4818F807B92E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F515E1B-A01F-B18D-5D7A-05A3EE18EF0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7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65950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BB348C-FC7B-4A6E-64D3-8B26A91DDB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1C6B403-CF0A-71BD-B88C-ADE73B4FED6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6C65F2C-4FE3-011B-A5CA-02401A4C7C2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AA3F15E0-4CBC-16E0-365C-3441CED69EB8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0E4D2D-1595-D6E9-2156-556DAE583EB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94D3D36-DE89-7C0C-6BA1-10567C1FA1A7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CDB31B1-DA3D-D61D-6CC0-5BB109C3298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8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7030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002B13-BB69-8753-D387-5193C1BA34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EF870B2-94D8-49BA-91DB-B36844C45E9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24804AF-2AE2-7101-9733-486DD4F936E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09C84EC0-2DF9-7E77-8C96-9A4F95071D9F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972896-7072-FFF8-DB9E-20AA1025771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44CD80C-BEA5-6C51-45BA-BB954CC4FE01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D086E14-02B9-45AF-47AF-0A7AA629BA9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9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2872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AE2BF6-A236-D469-3445-0CA60BE880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E6546A5-1D59-D3D7-F7F0-DC538ACE77D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2E30BEB-1D47-088A-2959-8B8C29507A6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1A09226D-3CA4-366C-0459-BE59568ECFCF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4EB9A0-1B46-CEBD-9CB7-35D51DE386E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93C778B-4BD3-152A-E7B3-3E854FDDC1CB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3539D7D-1EC4-8B0A-3808-3E2F7F66628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0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24145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4BBE9D-2A8E-0B74-1E25-C5F8A7DE20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4DC043C-45F0-815F-4385-67E8277D852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D64F018-AB8F-DAF9-74C1-DB7B516B0A5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96E41D7C-8B4B-7EA4-3B53-FB63CC4F941A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4C33A0-7B38-148C-A75F-17E50049734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5AA2C6A-DC87-0464-E3F6-2DC2C309B7E7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793D60-9446-2132-D57B-8964AB253C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1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91149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9A40EF-2411-94DF-1984-5330C30CD1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A62B42A-7E21-0302-91D4-96253E20CE4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32B4C66-E95E-DED6-31DE-60B251E2905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308CABD0-2263-ECFF-30F5-FD55DF01A99A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23651B-6AC5-0A98-A703-6A41AFD49CA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9CB748-EAAD-76AD-6B00-137E8CFEEB51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4039EE8-C4CC-C8F0-2818-CAA31DA85EF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2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76150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image" Target="../media/image1.emf"/><Relationship Id="rId5" Type="http://schemas.openxmlformats.org/officeDocument/2006/relationships/tags" Target="../tags/tag1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.xml"/><Relationship Id="rId9" Type="http://schemas.openxmlformats.org/officeDocument/2006/relationships/tags" Target="../tags/tag14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13" Type="http://schemas.openxmlformats.org/officeDocument/2006/relationships/tags" Target="../tags/tag101.xml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12" Type="http://schemas.openxmlformats.org/officeDocument/2006/relationships/tags" Target="../tags/tag100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tags" Target="../tags/tag94.xml"/><Relationship Id="rId11" Type="http://schemas.openxmlformats.org/officeDocument/2006/relationships/tags" Target="../tags/tag99.xml"/><Relationship Id="rId5" Type="http://schemas.openxmlformats.org/officeDocument/2006/relationships/tags" Target="../tags/tag93.xml"/><Relationship Id="rId10" Type="http://schemas.openxmlformats.org/officeDocument/2006/relationships/tags" Target="../tags/tag98.xml"/><Relationship Id="rId4" Type="http://schemas.openxmlformats.org/officeDocument/2006/relationships/tags" Target="../tags/tag92.xml"/><Relationship Id="rId9" Type="http://schemas.openxmlformats.org/officeDocument/2006/relationships/tags" Target="../tags/tag97.xml"/><Relationship Id="rId1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9.xml"/><Relationship Id="rId13" Type="http://schemas.openxmlformats.org/officeDocument/2006/relationships/tags" Target="../tags/tag114.xml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12" Type="http://schemas.openxmlformats.org/officeDocument/2006/relationships/tags" Target="../tags/tag113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tags" Target="../tags/tag107.xml"/><Relationship Id="rId11" Type="http://schemas.openxmlformats.org/officeDocument/2006/relationships/tags" Target="../tags/tag112.xml"/><Relationship Id="rId5" Type="http://schemas.openxmlformats.org/officeDocument/2006/relationships/tags" Target="../tags/tag106.xml"/><Relationship Id="rId10" Type="http://schemas.openxmlformats.org/officeDocument/2006/relationships/tags" Target="../tags/tag111.xml"/><Relationship Id="rId4" Type="http://schemas.openxmlformats.org/officeDocument/2006/relationships/tags" Target="../tags/tag105.xml"/><Relationship Id="rId9" Type="http://schemas.openxmlformats.org/officeDocument/2006/relationships/tags" Target="../tags/tag110.xml"/><Relationship Id="rId1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22.xml"/><Relationship Id="rId13" Type="http://schemas.openxmlformats.org/officeDocument/2006/relationships/tags" Target="../tags/tag127.xml"/><Relationship Id="rId3" Type="http://schemas.openxmlformats.org/officeDocument/2006/relationships/tags" Target="../tags/tag117.xml"/><Relationship Id="rId7" Type="http://schemas.openxmlformats.org/officeDocument/2006/relationships/tags" Target="../tags/tag121.xml"/><Relationship Id="rId12" Type="http://schemas.openxmlformats.org/officeDocument/2006/relationships/tags" Target="../tags/tag126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tags" Target="../tags/tag120.xml"/><Relationship Id="rId11" Type="http://schemas.openxmlformats.org/officeDocument/2006/relationships/tags" Target="../tags/tag125.xml"/><Relationship Id="rId5" Type="http://schemas.openxmlformats.org/officeDocument/2006/relationships/tags" Target="../tags/tag119.xml"/><Relationship Id="rId10" Type="http://schemas.openxmlformats.org/officeDocument/2006/relationships/tags" Target="../tags/tag124.xml"/><Relationship Id="rId4" Type="http://schemas.openxmlformats.org/officeDocument/2006/relationships/tags" Target="../tags/tag118.xml"/><Relationship Id="rId9" Type="http://schemas.openxmlformats.org/officeDocument/2006/relationships/tags" Target="../tags/tag123.xml"/><Relationship Id="rId1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35.xml"/><Relationship Id="rId13" Type="http://schemas.openxmlformats.org/officeDocument/2006/relationships/tags" Target="../tags/tag140.xml"/><Relationship Id="rId3" Type="http://schemas.openxmlformats.org/officeDocument/2006/relationships/tags" Target="../tags/tag130.xml"/><Relationship Id="rId7" Type="http://schemas.openxmlformats.org/officeDocument/2006/relationships/tags" Target="../tags/tag134.xml"/><Relationship Id="rId12" Type="http://schemas.openxmlformats.org/officeDocument/2006/relationships/tags" Target="../tags/tag139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11" Type="http://schemas.openxmlformats.org/officeDocument/2006/relationships/tags" Target="../tags/tag138.xml"/><Relationship Id="rId5" Type="http://schemas.openxmlformats.org/officeDocument/2006/relationships/tags" Target="../tags/tag132.xml"/><Relationship Id="rId10" Type="http://schemas.openxmlformats.org/officeDocument/2006/relationships/tags" Target="../tags/tag137.xml"/><Relationship Id="rId4" Type="http://schemas.openxmlformats.org/officeDocument/2006/relationships/tags" Target="../tags/tag131.xml"/><Relationship Id="rId9" Type="http://schemas.openxmlformats.org/officeDocument/2006/relationships/tags" Target="../tags/tag136.xml"/><Relationship Id="rId1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48.xml"/><Relationship Id="rId13" Type="http://schemas.openxmlformats.org/officeDocument/2006/relationships/tags" Target="../tags/tag153.xml"/><Relationship Id="rId3" Type="http://schemas.openxmlformats.org/officeDocument/2006/relationships/tags" Target="../tags/tag143.xml"/><Relationship Id="rId7" Type="http://schemas.openxmlformats.org/officeDocument/2006/relationships/tags" Target="../tags/tag147.xml"/><Relationship Id="rId12" Type="http://schemas.openxmlformats.org/officeDocument/2006/relationships/tags" Target="../tags/tag152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tags" Target="../tags/tag146.xml"/><Relationship Id="rId11" Type="http://schemas.openxmlformats.org/officeDocument/2006/relationships/tags" Target="../tags/tag151.xml"/><Relationship Id="rId5" Type="http://schemas.openxmlformats.org/officeDocument/2006/relationships/tags" Target="../tags/tag145.xml"/><Relationship Id="rId10" Type="http://schemas.openxmlformats.org/officeDocument/2006/relationships/tags" Target="../tags/tag150.xml"/><Relationship Id="rId4" Type="http://schemas.openxmlformats.org/officeDocument/2006/relationships/tags" Target="../tags/tag144.xml"/><Relationship Id="rId9" Type="http://schemas.openxmlformats.org/officeDocument/2006/relationships/tags" Target="../tags/tag149.xml"/><Relationship Id="rId1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61.xml"/><Relationship Id="rId13" Type="http://schemas.openxmlformats.org/officeDocument/2006/relationships/tags" Target="../tags/tag166.xml"/><Relationship Id="rId3" Type="http://schemas.openxmlformats.org/officeDocument/2006/relationships/tags" Target="../tags/tag156.xml"/><Relationship Id="rId7" Type="http://schemas.openxmlformats.org/officeDocument/2006/relationships/tags" Target="../tags/tag160.xml"/><Relationship Id="rId12" Type="http://schemas.openxmlformats.org/officeDocument/2006/relationships/tags" Target="../tags/tag165.xml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tags" Target="../tags/tag159.xml"/><Relationship Id="rId11" Type="http://schemas.openxmlformats.org/officeDocument/2006/relationships/tags" Target="../tags/tag164.xml"/><Relationship Id="rId5" Type="http://schemas.openxmlformats.org/officeDocument/2006/relationships/tags" Target="../tags/tag158.xml"/><Relationship Id="rId10" Type="http://schemas.openxmlformats.org/officeDocument/2006/relationships/tags" Target="../tags/tag163.xml"/><Relationship Id="rId4" Type="http://schemas.openxmlformats.org/officeDocument/2006/relationships/tags" Target="../tags/tag157.xml"/><Relationship Id="rId9" Type="http://schemas.openxmlformats.org/officeDocument/2006/relationships/tags" Target="../tags/tag162.xml"/><Relationship Id="rId1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74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69.xml"/><Relationship Id="rId7" Type="http://schemas.openxmlformats.org/officeDocument/2006/relationships/tags" Target="../tags/tag173.xml"/><Relationship Id="rId12" Type="http://schemas.openxmlformats.org/officeDocument/2006/relationships/tags" Target="../tags/tag178.xml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6" Type="http://schemas.openxmlformats.org/officeDocument/2006/relationships/tags" Target="../tags/tag172.xml"/><Relationship Id="rId11" Type="http://schemas.openxmlformats.org/officeDocument/2006/relationships/tags" Target="../tags/tag177.xml"/><Relationship Id="rId5" Type="http://schemas.openxmlformats.org/officeDocument/2006/relationships/tags" Target="../tags/tag171.xml"/><Relationship Id="rId10" Type="http://schemas.openxmlformats.org/officeDocument/2006/relationships/tags" Target="../tags/tag176.xml"/><Relationship Id="rId4" Type="http://schemas.openxmlformats.org/officeDocument/2006/relationships/tags" Target="../tags/tag170.xml"/><Relationship Id="rId9" Type="http://schemas.openxmlformats.org/officeDocument/2006/relationships/tags" Target="../tags/tag17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1.xml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85.xml"/><Relationship Id="rId7" Type="http://schemas.openxmlformats.org/officeDocument/2006/relationships/image" Target="../media/image1.emf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87.xml"/><Relationship Id="rId4" Type="http://schemas.openxmlformats.org/officeDocument/2006/relationships/tags" Target="../tags/tag186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10" Type="http://schemas.openxmlformats.org/officeDocument/2006/relationships/image" Target="../media/image1.emf"/><Relationship Id="rId4" Type="http://schemas.openxmlformats.org/officeDocument/2006/relationships/tags" Target="../tags/tag18.xml"/><Relationship Id="rId9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image" Target="../media/image1.emf"/><Relationship Id="rId5" Type="http://schemas.openxmlformats.org/officeDocument/2006/relationships/tags" Target="../tags/tag2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6.xml"/><Relationship Id="rId9" Type="http://schemas.openxmlformats.org/officeDocument/2006/relationships/tags" Target="../tags/tag3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tags" Target="../tags/tag44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tags" Target="../tags/tag43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5" Type="http://schemas.openxmlformats.org/officeDocument/2006/relationships/tags" Target="../tags/tag36.xml"/><Relationship Id="rId10" Type="http://schemas.openxmlformats.org/officeDocument/2006/relationships/tags" Target="../tags/tag41.xml"/><Relationship Id="rId4" Type="http://schemas.openxmlformats.org/officeDocument/2006/relationships/tags" Target="../tags/tag35.xml"/><Relationship Id="rId9" Type="http://schemas.openxmlformats.org/officeDocument/2006/relationships/tags" Target="../tags/tag40.xml"/><Relationship Id="rId1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49.xml"/><Relationship Id="rId10" Type="http://schemas.openxmlformats.org/officeDocument/2006/relationships/tags" Target="../tags/tag54.xml"/><Relationship Id="rId4" Type="http://schemas.openxmlformats.org/officeDocument/2006/relationships/tags" Target="../tags/tag48.xml"/><Relationship Id="rId9" Type="http://schemas.openxmlformats.org/officeDocument/2006/relationships/tags" Target="../tags/tag53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13" Type="http://schemas.openxmlformats.org/officeDocument/2006/relationships/tags" Target="../tags/tag67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12" Type="http://schemas.openxmlformats.org/officeDocument/2006/relationships/tags" Target="../tags/tag66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tags" Target="../tags/tag65.xml"/><Relationship Id="rId5" Type="http://schemas.openxmlformats.org/officeDocument/2006/relationships/tags" Target="../tags/tag59.xml"/><Relationship Id="rId10" Type="http://schemas.openxmlformats.org/officeDocument/2006/relationships/tags" Target="../tags/tag64.xml"/><Relationship Id="rId4" Type="http://schemas.openxmlformats.org/officeDocument/2006/relationships/tags" Target="../tags/tag58.xml"/><Relationship Id="rId9" Type="http://schemas.openxmlformats.org/officeDocument/2006/relationships/tags" Target="../tags/tag63.xml"/><Relationship Id="rId1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2.xml"/><Relationship Id="rId4" Type="http://schemas.openxmlformats.org/officeDocument/2006/relationships/tags" Target="../tags/tag7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5" Type="http://schemas.openxmlformats.org/officeDocument/2006/relationships/image" Target="../media/image1.emf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13" Type="http://schemas.openxmlformats.org/officeDocument/2006/relationships/tags" Target="../tags/tag88.xml"/><Relationship Id="rId3" Type="http://schemas.openxmlformats.org/officeDocument/2006/relationships/tags" Target="../tags/tag78.xml"/><Relationship Id="rId7" Type="http://schemas.openxmlformats.org/officeDocument/2006/relationships/tags" Target="../tags/tag82.xml"/><Relationship Id="rId12" Type="http://schemas.openxmlformats.org/officeDocument/2006/relationships/tags" Target="../tags/tag87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tags" Target="../tags/tag81.xml"/><Relationship Id="rId11" Type="http://schemas.openxmlformats.org/officeDocument/2006/relationships/tags" Target="../tags/tag86.xml"/><Relationship Id="rId5" Type="http://schemas.openxmlformats.org/officeDocument/2006/relationships/tags" Target="../tags/tag80.xml"/><Relationship Id="rId10" Type="http://schemas.openxmlformats.org/officeDocument/2006/relationships/tags" Target="../tags/tag85.xml"/><Relationship Id="rId4" Type="http://schemas.openxmlformats.org/officeDocument/2006/relationships/tags" Target="../tags/tag79.xml"/><Relationship Id="rId9" Type="http://schemas.openxmlformats.org/officeDocument/2006/relationships/tags" Target="../tags/tag84.xml"/><Relationship Id="rId1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OGO PROTECTION" hidden="1">
            <a:extLst>
              <a:ext uri="{FF2B5EF4-FFF2-40B4-BE49-F238E27FC236}">
                <a16:creationId xmlns:a16="http://schemas.microsoft.com/office/drawing/2014/main" id="{193C101A-31DD-4FCB-8E69-ED3C115F16E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Background White">
            <a:extLst>
              <a:ext uri="{FF2B5EF4-FFF2-40B4-BE49-F238E27FC236}">
                <a16:creationId xmlns:a16="http://schemas.microsoft.com/office/drawing/2014/main" id="{9FD1694A-5725-40E5-AC10-2A7A68B981E5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0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951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26638A09-FAF0-40AC-917E-C2B12C875E5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624000" y="4163051"/>
            <a:ext cx="8280000" cy="1118901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type in title</a:t>
            </a:r>
          </a:p>
        </p:txBody>
      </p:sp>
      <p:sp>
        <p:nvSpPr>
          <p:cNvPr id="9" name="empower_classification_attention_placeholder" hidden="1">
            <a:extLst>
              <a:ext uri="{FF2B5EF4-FFF2-40B4-BE49-F238E27FC236}">
                <a16:creationId xmlns:a16="http://schemas.microsoft.com/office/drawing/2014/main" id="{542ADA73-329E-4D35-A040-712B75800F88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0314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FE25D73-2664-463A-AF80-DF3E4E2CB8B6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0314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draft_placeholder" hidden="1">
            <a:extLst>
              <a:ext uri="{FF2B5EF4-FFF2-40B4-BE49-F238E27FC236}">
                <a16:creationId xmlns:a16="http://schemas.microsoft.com/office/drawing/2014/main" id="{9769B1E2-E46B-4957-AEBB-2CD1EAF09328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" name="MIO_AGENDA_IGNORE_NAVIGATION" hidden="1">
            <a:extLst>
              <a:ext uri="{FF2B5EF4-FFF2-40B4-BE49-F238E27FC236}">
                <a16:creationId xmlns:a16="http://schemas.microsoft.com/office/drawing/2014/main" id="{03AF05FD-8ED3-440D-B616-18664CA13DD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E0053FF2-2ADB-4CE0-850C-04ADE25DFF5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7" name="Date Placeholder 16" hidden="1">
            <a:extLst>
              <a:ext uri="{FF2B5EF4-FFF2-40B4-BE49-F238E27FC236}">
                <a16:creationId xmlns:a16="http://schemas.microsoft.com/office/drawing/2014/main" id="{B19EA23C-BCB4-4E72-A8B3-AFF05FD396B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8" name="Footer Placeholder 17" hidden="1">
            <a:extLst>
              <a:ext uri="{FF2B5EF4-FFF2-40B4-BE49-F238E27FC236}">
                <a16:creationId xmlns:a16="http://schemas.microsoft.com/office/drawing/2014/main" id="{271BB539-26D3-4B9C-9F13-4E382668BE8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:a16="http://schemas.microsoft.com/office/drawing/2014/main" id="{970E7400-5A78-4596-8A13-DC8308CA511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370ED20-2DD7-4652-95B4-6C73AD11EB7F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605D435E-1749-4D7C-922C-B8AA23F4AC2D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36360" y="5517231"/>
            <a:ext cx="2502783" cy="736719"/>
          </a:xfrm>
          <a:prstGeom prst="rect">
            <a:avLst/>
          </a:prstGeom>
        </p:spPr>
      </p:pic>
      <p:sp>
        <p:nvSpPr>
          <p:cNvPr id="5" name="Crystal Shape">
            <a:extLst>
              <a:ext uri="{FF2B5EF4-FFF2-40B4-BE49-F238E27FC236}">
                <a16:creationId xmlns:a16="http://schemas.microsoft.com/office/drawing/2014/main" id="{8E517925-1E1F-5C49-CCDA-9974E75078DA}"/>
              </a:ext>
            </a:extLst>
          </p:cNvPr>
          <p:cNvSpPr/>
          <p:nvPr userDrawn="1"/>
        </p:nvSpPr>
        <p:spPr bwMode="auto">
          <a:xfrm>
            <a:off x="2" y="1"/>
            <a:ext cx="12191999" cy="3932241"/>
          </a:xfrm>
          <a:custGeom>
            <a:avLst/>
            <a:gdLst>
              <a:gd name="connsiteX0" fmla="*/ 0 w 12191999"/>
              <a:gd name="connsiteY0" fmla="*/ 0 h 3932241"/>
              <a:gd name="connsiteX1" fmla="*/ 12191999 w 12191999"/>
              <a:gd name="connsiteY1" fmla="*/ 0 h 3932241"/>
              <a:gd name="connsiteX2" fmla="*/ 12191999 w 12191999"/>
              <a:gd name="connsiteY2" fmla="*/ 3726156 h 3932241"/>
              <a:gd name="connsiteX3" fmla="*/ 3063660 w 12191999"/>
              <a:gd name="connsiteY3" fmla="*/ 2179105 h 3932241"/>
              <a:gd name="connsiteX4" fmla="*/ 387 w 12191999"/>
              <a:gd name="connsiteY4" fmla="*/ 3726157 h 3932241"/>
              <a:gd name="connsiteX5" fmla="*/ 387 w 12191999"/>
              <a:gd name="connsiteY5" fmla="*/ 3932241 h 3932241"/>
              <a:gd name="connsiteX6" fmla="*/ 0 w 12191999"/>
              <a:gd name="connsiteY6" fmla="*/ 3932241 h 3932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932241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932241"/>
                </a:lnTo>
                <a:lnTo>
                  <a:pt x="0" y="3932241"/>
                </a:lnTo>
                <a:close/>
              </a:path>
            </a:pathLst>
          </a:custGeom>
          <a:solidFill>
            <a:srgbClr val="7390A6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defTabSz="576000" rtl="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5361232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Row |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ECAA0892-68E2-4E2E-9B18-4A8DC40F0E11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D16A0514-897C-427C-A5CD-34FCB4F6BF1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A6FCF5E5-2935-4FDA-903C-EA43A699BD8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115A00C6-A501-466D-A34B-23C1071DA39E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D39CEC28-75A6-43F3-9DE9-2436F3F4D9C6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11520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Bottom Left"/>
          <p:cNvSpPr>
            <a:spLocks noGrp="1"/>
          </p:cNvSpPr>
          <p:nvPr>
            <p:ph sz="quarter" idx="14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Right"/>
          <p:cNvSpPr>
            <a:spLocks noGrp="1"/>
          </p:cNvSpPr>
          <p:nvPr>
            <p:ph sz="quarter" idx="15" hasCustomPrompt="1"/>
          </p:nvPr>
        </p:nvSpPr>
        <p:spPr>
          <a:xfrm>
            <a:off x="6166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ADACDEE-D42E-4EEF-8504-614B0FC9EF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F595BB6-F050-434C-AF4B-533D75C5E5D3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3ABBB783-BFC3-406F-9AE2-14E6D55F43A3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7DAA9CDC-CAD4-4554-97D9-7059E95FE638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07C82FBB-C728-405A-8E31-DE02DA8D9177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03708507-303A-4696-8A49-D64DA70EAF1B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6EF526FC-147E-DA40-64AA-3C4AB98E38B6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D394B2B7-F80B-E7A6-7BB8-A1B69000DE66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6" name="empower_date_placeholder">
            <a:extLst>
              <a:ext uri="{FF2B5EF4-FFF2-40B4-BE49-F238E27FC236}">
                <a16:creationId xmlns:a16="http://schemas.microsoft.com/office/drawing/2014/main" id="{7F04C1BF-64C3-20FF-D5BB-D640B073F3C5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273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pos="7469">
          <p15:clr>
            <a:srgbClr val="FBAE40"/>
          </p15:clr>
        </p15:guide>
        <p15:guide id="5" pos="3885">
          <p15:clr>
            <a:srgbClr val="FBAE40"/>
          </p15:clr>
        </p15:guide>
        <p15:guide id="6" pos="3795">
          <p15:clr>
            <a:srgbClr val="FBAE40"/>
          </p15:clr>
        </p15:guide>
        <p15:guide id="7" pos="211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Row | 2 columns |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C812AE9A-81D7-4AE8-BC9F-85686450823C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A8D3527-E357-41F9-99D1-BCEAEC88D7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3A1A2EC5-F603-4F90-ADD8-B8933F3B810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FA03A6F0-5545-409D-93A9-5E09698484A1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5A896D99-24DF-4F81-9EC3-37F5EF05FFED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433" y="1268412"/>
            <a:ext cx="11521280" cy="126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Center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 Right"/>
          <p:cNvSpPr>
            <a:spLocks noGrp="1"/>
          </p:cNvSpPr>
          <p:nvPr>
            <p:ph sz="quarter" idx="15" hasCustomPrompt="1"/>
          </p:nvPr>
        </p:nvSpPr>
        <p:spPr>
          <a:xfrm>
            <a:off x="6167437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"/>
          <p:cNvSpPr>
            <a:spLocks noGrp="1"/>
          </p:cNvSpPr>
          <p:nvPr>
            <p:ph sz="quarter" idx="16" hasCustomPrompt="1"/>
          </p:nvPr>
        </p:nvSpPr>
        <p:spPr>
          <a:xfrm>
            <a:off x="334433" y="5085186"/>
            <a:ext cx="11521280" cy="129656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2CB6C61-472A-4F78-8808-601D74D8D1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878DF235-2AD8-4C82-A0BD-D1BDFC873704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A9104FB9-0912-4A0F-BBB7-DF055F82945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E424A36D-7777-4A82-B12F-96CE1F877678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E1CCD2B2-40D2-43D5-80C4-5322AD4033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1235F132-B0A2-4CF3-A146-5DF950DFB464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97334A24-1482-111D-F782-32FD41B090E1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2E548871-B2FA-ED76-CE8B-E94E66279F8C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7" name="empower_date_placeholder">
            <a:extLst>
              <a:ext uri="{FF2B5EF4-FFF2-40B4-BE49-F238E27FC236}">
                <a16:creationId xmlns:a16="http://schemas.microsoft.com/office/drawing/2014/main" id="{54A2C86A-81E1-2F37-061E-440DC018FF13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3795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1593">
          <p15:clr>
            <a:srgbClr val="FBAE40"/>
          </p15:clr>
        </p15:guide>
        <p15:guide id="7" orient="horz" pos="1752">
          <p15:clr>
            <a:srgbClr val="FBAE40"/>
          </p15:clr>
        </p15:guide>
        <p15:guide id="8" orient="horz" pos="2999">
          <p15:clr>
            <a:srgbClr val="FBAE40"/>
          </p15:clr>
        </p15:guide>
        <p15:guide id="9" orient="horz" pos="3203">
          <p15:clr>
            <a:srgbClr val="FBAE40"/>
          </p15:clr>
        </p15:guide>
        <p15:guide id="10" orient="horz" pos="402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7FB993A8-52D6-439E-9FD7-796FB137109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112013B0-A00B-4A1F-90FB-E2E8B2F86D5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FC3769D5-91E6-43B0-BC4B-C0040A71CF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B0E0CB85-0435-4FEC-B2B6-D19200B6292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8C605CA2-9EAD-450F-BC1B-8D9AF92E5875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3744384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Center"/>
          <p:cNvSpPr>
            <a:spLocks noGrp="1"/>
          </p:cNvSpPr>
          <p:nvPr>
            <p:ph sz="quarter" idx="14" hasCustomPrompt="1"/>
          </p:nvPr>
        </p:nvSpPr>
        <p:spPr>
          <a:xfrm>
            <a:off x="4262399" y="1268414"/>
            <a:ext cx="3672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Right"/>
          <p:cNvSpPr>
            <a:spLocks noGrp="1"/>
          </p:cNvSpPr>
          <p:nvPr>
            <p:ph sz="quarter" idx="15" hasCustomPrompt="1"/>
          </p:nvPr>
        </p:nvSpPr>
        <p:spPr>
          <a:xfrm>
            <a:off x="8113184" y="1268414"/>
            <a:ext cx="3744416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A635AE4-FE20-4282-BFFD-96EBDCED60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6E14A5B-9E91-4287-8D3D-9F9C469D8ECA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210BD89C-2BAC-459E-A79D-05B6C0B33362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13A018B2-30A4-435D-A599-2BE57EAB5CBC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B6CA23A5-CFDD-4B39-B853-6A18A878BFBF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226441E8-60EA-42A3-B978-BA612ACACF40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19BDFBCA-0E6C-EFAA-4799-1314256F0881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780C9373-C70C-270A-2B1F-DFB0060722D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6" name="empower_date_placeholder">
            <a:extLst>
              <a:ext uri="{FF2B5EF4-FFF2-40B4-BE49-F238E27FC236}">
                <a16:creationId xmlns:a16="http://schemas.microsoft.com/office/drawing/2014/main" id="{92CA6298-C8E0-1BF5-60FA-755A69D3271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pos="4997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5110">
          <p15:clr>
            <a:srgbClr val="FBAE40"/>
          </p15:clr>
        </p15:guide>
        <p15:guide id="7" pos="211">
          <p15:clr>
            <a:srgbClr val="FBAE40"/>
          </p15:clr>
        </p15:guide>
        <p15:guide id="8" pos="746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Row |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488416C1-009C-4276-862C-859A39D89869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192327F-A51B-41E2-B3F1-79934B2829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EE529511-279F-4E8D-B98F-7745CB480D7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7712C297-5B52-4E05-AEC3-8C81F2A74EE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EB4DD739-504C-48CA-BA98-DEE0B3A91EAB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1280" cy="136842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1300"/>
            <a:ext cx="3744000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"/>
          <p:cNvSpPr>
            <a:spLocks noGrp="1"/>
          </p:cNvSpPr>
          <p:nvPr>
            <p:ph sz="quarter" idx="15" hasCustomPrompt="1"/>
          </p:nvPr>
        </p:nvSpPr>
        <p:spPr>
          <a:xfrm>
            <a:off x="4259262" y="2781300"/>
            <a:ext cx="3673475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Right"/>
          <p:cNvSpPr>
            <a:spLocks noGrp="1"/>
          </p:cNvSpPr>
          <p:nvPr>
            <p:ph sz="quarter" idx="16" hasCustomPrompt="1"/>
          </p:nvPr>
        </p:nvSpPr>
        <p:spPr>
          <a:xfrm>
            <a:off x="8113186" y="2781300"/>
            <a:ext cx="3744383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6C581746-1B2C-4D98-9755-6221A3ED9E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7AAAECD1-71D2-46B6-BF2D-6007823BA888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A8AF054-4363-4E54-A605-8A5E7CD05422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C839DAF8-6F4C-441B-B45B-348B7EA8B4B3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CBA086A-526B-43F0-BEDE-EC3219CC78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F76E7CBE-7230-4110-85FB-3718D4B81343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CEF56566-2B0F-E3F6-41FA-55A159C81DE9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7141DD96-38A9-A4AB-7474-C10B331BFDDC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7" name="empower_date_placeholder">
            <a:extLst>
              <a:ext uri="{FF2B5EF4-FFF2-40B4-BE49-F238E27FC236}">
                <a16:creationId xmlns:a16="http://schemas.microsoft.com/office/drawing/2014/main" id="{1C0615B3-0D85-1379-3158-31BECB8FAC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4997">
          <p15:clr>
            <a:srgbClr val="FBAE40"/>
          </p15:clr>
        </p15:guide>
        <p15:guide id="2" pos="5110">
          <p15:clr>
            <a:srgbClr val="FBAE40"/>
          </p15:clr>
        </p15:guide>
        <p15:guide id="3" pos="7469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211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orient="horz" pos="4020">
          <p15:clr>
            <a:srgbClr val="FBAE40"/>
          </p15:clr>
        </p15:guide>
        <p15:guide id="9" orient="horz" pos="1661">
          <p15:clr>
            <a:srgbClr val="FBAE40"/>
          </p15:clr>
        </p15:guide>
        <p15:guide id="10" orient="horz" pos="175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mpower_additionalText_placeholder" hidden="1">
            <a:extLst>
              <a:ext uri="{FF2B5EF4-FFF2-40B4-BE49-F238E27FC236}">
                <a16:creationId xmlns:a16="http://schemas.microsoft.com/office/drawing/2014/main" id="{5BFFD0DD-DDFD-422B-86D9-F164E68C053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DF070F93-7F88-456A-894C-885F8AC591A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9A5FF993-F527-4569-A066-E8D346767DE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09C3987-21ED-4B60-B90F-837FB1F2A7A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40F47B66-9156-4480-85AF-99EB0563F55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8" name="Content Left">
            <a:extLst>
              <a:ext uri="{FF2B5EF4-FFF2-40B4-BE49-F238E27FC236}">
                <a16:creationId xmlns:a16="http://schemas.microsoft.com/office/drawing/2014/main" id="{371B7856-37AA-4EBD-9A28-1045DC90A92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34799" y="1268414"/>
            <a:ext cx="2808000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ontent Center Left">
            <a:extLst>
              <a:ext uri="{FF2B5EF4-FFF2-40B4-BE49-F238E27FC236}">
                <a16:creationId xmlns:a16="http://schemas.microsoft.com/office/drawing/2014/main" id="{AB4408A9-DF90-4D32-8AE8-9278539718C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24225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Center Right">
            <a:extLst>
              <a:ext uri="{FF2B5EF4-FFF2-40B4-BE49-F238E27FC236}">
                <a16:creationId xmlns:a16="http://schemas.microsoft.com/office/drawing/2014/main" id="{FFF96914-9970-46DB-82A4-AB1B80110378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203950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Content Right">
            <a:extLst>
              <a:ext uri="{FF2B5EF4-FFF2-40B4-BE49-F238E27FC236}">
                <a16:creationId xmlns:a16="http://schemas.microsoft.com/office/drawing/2014/main" id="{6803C6B1-D864-4BE6-AE1F-CA280F4DABD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48750" y="1268414"/>
            <a:ext cx="2807593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CDD773CC-FCEC-46C8-A75B-E70A26A7BF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FC67C23C-8514-4FAA-ABF5-040B63DA67C4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735BE885-8732-4220-942B-E6D8F286274D}"/>
              </a:ext>
            </a:extLst>
          </p:cNvPr>
          <p:cNvSpPr>
            <a:spLocks noGrp="1"/>
          </p:cNvSpPr>
          <p:nvPr>
            <p:ph type="dt" sz="half" idx="24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3" name="Footer Placeholder 12" hidden="1">
            <a:extLst>
              <a:ext uri="{FF2B5EF4-FFF2-40B4-BE49-F238E27FC236}">
                <a16:creationId xmlns:a16="http://schemas.microsoft.com/office/drawing/2014/main" id="{30570D12-AEFF-4406-B206-CB0D80D8FF49}"/>
              </a:ext>
            </a:extLst>
          </p:cNvPr>
          <p:cNvSpPr>
            <a:spLocks noGrp="1"/>
          </p:cNvSpPr>
          <p:nvPr>
            <p:ph type="ftr" sz="quarter" idx="25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Slide Number Placeholder 15" hidden="1">
            <a:extLst>
              <a:ext uri="{FF2B5EF4-FFF2-40B4-BE49-F238E27FC236}">
                <a16:creationId xmlns:a16="http://schemas.microsoft.com/office/drawing/2014/main" id="{C49E2653-C8D1-4594-B3A4-0606A88CBB62}"/>
              </a:ext>
            </a:extLst>
          </p:cNvPr>
          <p:cNvSpPr>
            <a:spLocks noGrp="1"/>
          </p:cNvSpPr>
          <p:nvPr>
            <p:ph type="sldNum" sz="quarter" idx="26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8" name="MIO_Placeholder_Mapping" hidden="1">
            <a:extLst>
              <a:ext uri="{FF2B5EF4-FFF2-40B4-BE49-F238E27FC236}">
                <a16:creationId xmlns:a16="http://schemas.microsoft.com/office/drawing/2014/main" id="{12ADA7AE-DD1C-409A-B0A5-6D14FF7BF270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empower_footer_placeholder">
            <a:extLst>
              <a:ext uri="{FF2B5EF4-FFF2-40B4-BE49-F238E27FC236}">
                <a16:creationId xmlns:a16="http://schemas.microsoft.com/office/drawing/2014/main" id="{2E23C1A0-0B35-5ED8-4F8F-AA76F511D46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19" name="empower_classification_placeholder">
            <a:extLst>
              <a:ext uri="{FF2B5EF4-FFF2-40B4-BE49-F238E27FC236}">
                <a16:creationId xmlns:a16="http://schemas.microsoft.com/office/drawing/2014/main" id="{45A0B6A0-CF1A-36BB-AA8F-577E96BE9F5D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20" name="empower_date_placeholder">
            <a:extLst>
              <a:ext uri="{FF2B5EF4-FFF2-40B4-BE49-F238E27FC236}">
                <a16:creationId xmlns:a16="http://schemas.microsoft.com/office/drawing/2014/main" id="{9A1157CF-651C-12D5-49FC-F636EB0836E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5" pos="3908">
          <p15:clr>
            <a:srgbClr val="FBAE40"/>
          </p15:clr>
        </p15:guide>
        <p15:guide id="6" pos="3772">
          <p15:clr>
            <a:srgbClr val="FBAE40"/>
          </p15:clr>
        </p15:guide>
        <p15:guide id="7" pos="5586">
          <p15:clr>
            <a:srgbClr val="FBAE40"/>
          </p15:clr>
        </p15:guide>
        <p15:guide id="8" pos="5700">
          <p15:clr>
            <a:srgbClr val="FBAE40"/>
          </p15:clr>
        </p15:guide>
        <p15:guide id="9" pos="1980">
          <p15:clr>
            <a:srgbClr val="FBAE40"/>
          </p15:clr>
        </p15:guide>
        <p15:guide id="10" pos="209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Row |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mpower_additionalText_placeholder" hidden="1">
            <a:extLst>
              <a:ext uri="{FF2B5EF4-FFF2-40B4-BE49-F238E27FC236}">
                <a16:creationId xmlns:a16="http://schemas.microsoft.com/office/drawing/2014/main" id="{598DE9EE-A198-41B5-9814-41C66F96D3B0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0AFB1D71-5FD7-446C-90B5-1DE68C513BD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57168C6C-B95E-4260-9301-8D1D5988F67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29E2230-F28C-4139-A2F7-536C0BDB8E9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333A1F8F-A990-434A-92C1-D59A014E7AF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8" name="Content Top">
            <a:extLst>
              <a:ext uri="{FF2B5EF4-FFF2-40B4-BE49-F238E27FC236}">
                <a16:creationId xmlns:a16="http://schemas.microsoft.com/office/drawing/2014/main" id="{B528FDA5-64C4-4079-B7B7-97722BA3003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4800" y="1268414"/>
            <a:ext cx="11521280" cy="1368425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11455573-DB68-4634-9EB0-10FDA72EB09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800" y="2781300"/>
            <a:ext cx="2808000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Content Center Left">
            <a:extLst>
              <a:ext uri="{FF2B5EF4-FFF2-40B4-BE49-F238E27FC236}">
                <a16:creationId xmlns:a16="http://schemas.microsoft.com/office/drawing/2014/main" id="{DF6A34C2-8D0D-4C18-BD01-86B1344A92D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324225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Content Center Right">
            <a:extLst>
              <a:ext uri="{FF2B5EF4-FFF2-40B4-BE49-F238E27FC236}">
                <a16:creationId xmlns:a16="http://schemas.microsoft.com/office/drawing/2014/main" id="{A331F240-D4BB-4096-BFB7-002D583A4FC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03950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Right">
            <a:extLst>
              <a:ext uri="{FF2B5EF4-FFF2-40B4-BE49-F238E27FC236}">
                <a16:creationId xmlns:a16="http://schemas.microsoft.com/office/drawing/2014/main" id="{2BEB3BE2-22F6-4B6B-AB28-F38AB449DED5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048750" y="2781300"/>
            <a:ext cx="2807593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B9A27F18-A46A-4C29-AB62-7BEB5215CA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DDE018F7-7CB9-4F69-872D-4609CBE453C0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580E7AAC-C545-4F05-8939-1B218CC948D8}"/>
              </a:ext>
            </a:extLst>
          </p:cNvPr>
          <p:cNvSpPr>
            <a:spLocks noGrp="1"/>
          </p:cNvSpPr>
          <p:nvPr>
            <p:ph type="dt" sz="half" idx="26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6E86CFC-21FB-497B-BD25-729619D70F13}"/>
              </a:ext>
            </a:extLst>
          </p:cNvPr>
          <p:cNvSpPr>
            <a:spLocks noGrp="1"/>
          </p:cNvSpPr>
          <p:nvPr>
            <p:ph type="ftr" sz="quarter" idx="27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Slide Number Placeholder 16" hidden="1">
            <a:extLst>
              <a:ext uri="{FF2B5EF4-FFF2-40B4-BE49-F238E27FC236}">
                <a16:creationId xmlns:a16="http://schemas.microsoft.com/office/drawing/2014/main" id="{C7A23CE7-AF5A-4245-A417-6A94DA58E485}"/>
              </a:ext>
            </a:extLst>
          </p:cNvPr>
          <p:cNvSpPr>
            <a:spLocks noGrp="1"/>
          </p:cNvSpPr>
          <p:nvPr>
            <p:ph type="sldNum" sz="quarter" idx="28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9" name="MIO_Placeholder_Mapping" hidden="1">
            <a:extLst>
              <a:ext uri="{FF2B5EF4-FFF2-40B4-BE49-F238E27FC236}">
                <a16:creationId xmlns:a16="http://schemas.microsoft.com/office/drawing/2014/main" id="{E3241B79-27A8-4873-89EC-D6F0564709E7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footer_placeholder">
            <a:extLst>
              <a:ext uri="{FF2B5EF4-FFF2-40B4-BE49-F238E27FC236}">
                <a16:creationId xmlns:a16="http://schemas.microsoft.com/office/drawing/2014/main" id="{1A9A6E60-851B-5726-1EA1-142B51912DA4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15" name="empower_classification_placeholder">
            <a:extLst>
              <a:ext uri="{FF2B5EF4-FFF2-40B4-BE49-F238E27FC236}">
                <a16:creationId xmlns:a16="http://schemas.microsoft.com/office/drawing/2014/main" id="{60AB92AE-BBC7-A9FE-2207-84BBC6C73C16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21" name="empower_date_placeholder">
            <a:extLst>
              <a:ext uri="{FF2B5EF4-FFF2-40B4-BE49-F238E27FC236}">
                <a16:creationId xmlns:a16="http://schemas.microsoft.com/office/drawing/2014/main" id="{E58C467F-2EFE-FA04-E77C-5253B19920D3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1661">
          <p15:clr>
            <a:srgbClr val="FBAE40"/>
          </p15:clr>
        </p15:guide>
        <p15:guide id="3" orient="horz" pos="1752">
          <p15:clr>
            <a:srgbClr val="FBAE40"/>
          </p15:clr>
        </p15:guide>
        <p15:guide id="4" orient="horz" pos="4020">
          <p15:clr>
            <a:srgbClr val="FBAE40"/>
          </p15:clr>
        </p15:guide>
        <p15:guide id="5" pos="1980">
          <p15:clr>
            <a:srgbClr val="FBAE40"/>
          </p15:clr>
        </p15:guide>
        <p15:guide id="6" pos="211">
          <p15:clr>
            <a:srgbClr val="FBAE40"/>
          </p15:clr>
        </p15:guide>
        <p15:guide id="7" pos="2094">
          <p15:clr>
            <a:srgbClr val="FBAE40"/>
          </p15:clr>
        </p15:guide>
        <p15:guide id="8" pos="3772">
          <p15:clr>
            <a:srgbClr val="FBAE40"/>
          </p15:clr>
        </p15:guide>
        <p15:guide id="9" pos="3908">
          <p15:clr>
            <a:srgbClr val="FBAE40"/>
          </p15:clr>
        </p15:guide>
        <p15:guide id="10" pos="5586">
          <p15:clr>
            <a:srgbClr val="FBAE40"/>
          </p15:clr>
        </p15:guide>
        <p15:guide id="11" pos="5700">
          <p15:clr>
            <a:srgbClr val="FBAE40"/>
          </p15:clr>
        </p15:guide>
        <p15:guide id="12" pos="74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mpower_additionalText_placeholder" hidden="1">
            <a:extLst>
              <a:ext uri="{FF2B5EF4-FFF2-40B4-BE49-F238E27FC236}">
                <a16:creationId xmlns:a16="http://schemas.microsoft.com/office/drawing/2014/main" id="{8B492BE2-D2A2-481A-B24A-CDE1C12A85F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C269EC22-FB11-4D33-A5AD-970FF7AE0E7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B1BF6CA-DC2D-48CD-962D-066217BE39A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884DECEF-9719-4244-AEE1-2AEA4754457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8BB80B65-0382-459F-AC7F-F3D707F65045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106A8C73-A6AF-4DF0-8894-BF2EC7AA230E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AB7F0ADB-6E9B-485D-93FC-12BF83F0A67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688F703F-EAD1-4063-8445-95277BEEE9A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1AE06898-E172-4A77-BE61-DAD235E107B9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empower_footer_placeholder">
            <a:extLst>
              <a:ext uri="{FF2B5EF4-FFF2-40B4-BE49-F238E27FC236}">
                <a16:creationId xmlns:a16="http://schemas.microsoft.com/office/drawing/2014/main" id="{F0CF9C2A-F696-1A31-0EB8-CA73E0B01CD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4" name="empower_classification_placeholder">
            <a:extLst>
              <a:ext uri="{FF2B5EF4-FFF2-40B4-BE49-F238E27FC236}">
                <a16:creationId xmlns:a16="http://schemas.microsoft.com/office/drawing/2014/main" id="{41CCC5C8-DA8D-368E-DFA0-66CBEFBD00B8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6" name="empower_date_placeholder">
            <a:extLst>
              <a:ext uri="{FF2B5EF4-FFF2-40B4-BE49-F238E27FC236}">
                <a16:creationId xmlns:a16="http://schemas.microsoft.com/office/drawing/2014/main" id="{2822EA6A-5CF7-9A7E-3BA0-EC0D9908E9EA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orient="horz" pos="79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Fullpi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C9A3C9F-7C21-45B3-9124-006DC5D0E6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12281 h 6858000"/>
              <a:gd name="connsiteX3" fmla="*/ 12192000 w 12192000"/>
              <a:gd name="connsiteY3" fmla="*/ 6823094 h 6858000"/>
              <a:gd name="connsiteX4" fmla="*/ 12192000 w 12192000"/>
              <a:gd name="connsiteY4" fmla="*/ 6858000 h 6858000"/>
              <a:gd name="connsiteX5" fmla="*/ 0 w 12192000"/>
              <a:gd name="connsiteY5" fmla="*/ 6858000 h 6858000"/>
              <a:gd name="connsiteX6" fmla="*/ 0 w 12192000"/>
              <a:gd name="connsiteY6" fmla="*/ 6823094 h 6858000"/>
              <a:gd name="connsiteX7" fmla="*/ 0 w 12192000"/>
              <a:gd name="connsiteY7" fmla="*/ 68122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12281"/>
                </a:lnTo>
                <a:lnTo>
                  <a:pt x="12192000" y="6823094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823094"/>
                </a:lnTo>
                <a:lnTo>
                  <a:pt x="0" y="6812281"/>
                </a:lnTo>
                <a:close/>
              </a:path>
            </a:pathLst>
          </a:custGeom>
          <a:solidFill>
            <a:srgbClr val="DCD5D7"/>
          </a:solidFill>
        </p:spPr>
        <p:txBody>
          <a:bodyPr wrap="square" tIns="2880000">
            <a:noAutofit/>
          </a:bodyPr>
          <a:lstStyle>
            <a:lvl1pPr algn="ctr">
              <a:buNone/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3" name="MIO_AGENDA_IGNORE_NAVIGATION" hidden="1">
            <a:extLst>
              <a:ext uri="{FF2B5EF4-FFF2-40B4-BE49-F238E27FC236}">
                <a16:creationId xmlns:a16="http://schemas.microsoft.com/office/drawing/2014/main" id="{298E6853-722D-4D8C-A4A5-A6FCEB4A06C0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MIO_AGENDA_IGNORE_CHAPTER_REFERENCE" hidden="1">
            <a:extLst>
              <a:ext uri="{FF2B5EF4-FFF2-40B4-BE49-F238E27FC236}">
                <a16:creationId xmlns:a16="http://schemas.microsoft.com/office/drawing/2014/main" id="{4C952A04-6CCB-455C-887C-1B9A3B0ACD0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7D6FAC8-11F4-4964-9B25-EE9D1E189D30}"/>
              </a:ext>
            </a:extLst>
          </p:cNvPr>
          <p:cNvSpPr>
            <a:spLocks noGrp="1"/>
          </p:cNvSpPr>
          <p:nvPr>
            <p:ph type="dt" sz="half" idx="13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B6B82CD2-EA5C-4D03-98C1-175706CF32FC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6C4E2716-EC8F-40FC-B4F8-3418FB160B39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7" name="MIO_Placeholder_Mapping" hidden="1">
            <a:extLst>
              <a:ext uri="{FF2B5EF4-FFF2-40B4-BE49-F238E27FC236}">
                <a16:creationId xmlns:a16="http://schemas.microsoft.com/office/drawing/2014/main" id="{162DC542-CA6E-49F2-AE52-133D584ED71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3257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OGO PROTECTION" hidden="1">
            <a:extLst>
              <a:ext uri="{FF2B5EF4-FFF2-40B4-BE49-F238E27FC236}">
                <a16:creationId xmlns:a16="http://schemas.microsoft.com/office/drawing/2014/main" id="{8182E335-5A52-4E3C-BCEC-9507D81BA511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2927650" y="1920766"/>
            <a:ext cx="6336702" cy="3088476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6" name="MIO_AGENDA_LAST_SLIDE" hidden="1">
            <a:extLst>
              <a:ext uri="{FF2B5EF4-FFF2-40B4-BE49-F238E27FC236}">
                <a16:creationId xmlns:a16="http://schemas.microsoft.com/office/drawing/2014/main" id="{45591D6F-6D52-44E5-B3AA-2575CCD4520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MIO_AGENDA_IGNORE_NAVIGATION" hidden="1">
            <a:extLst>
              <a:ext uri="{FF2B5EF4-FFF2-40B4-BE49-F238E27FC236}">
                <a16:creationId xmlns:a16="http://schemas.microsoft.com/office/drawing/2014/main" id="{C7038F66-C11F-4566-ADAF-A099AF95755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MIO_AGENDA_IGNORE_CHAPTER_REFERENCE" hidden="1">
            <a:extLst>
              <a:ext uri="{FF2B5EF4-FFF2-40B4-BE49-F238E27FC236}">
                <a16:creationId xmlns:a16="http://schemas.microsoft.com/office/drawing/2014/main" id="{E0318986-8EA2-446A-AFF2-E8441C3AF8A6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Date Placeholder 7" hidden="1">
            <a:extLst>
              <a:ext uri="{FF2B5EF4-FFF2-40B4-BE49-F238E27FC236}">
                <a16:creationId xmlns:a16="http://schemas.microsoft.com/office/drawing/2014/main" id="{087EFA22-3F6E-4210-A8FC-0864CD1DE4E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BDF262C8-30D5-474A-BD81-CA14ACCE51B5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3F1C5DF9-A781-4661-8C3B-816A398ADFD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77B07280-C452-41A8-A8A7-B816EB9C3C9E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B85AA65-668F-A760-0BF5-086383CCE0F2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4" name="LOGO">
            <a:extLst>
              <a:ext uri="{FF2B5EF4-FFF2-40B4-BE49-F238E27FC236}">
                <a16:creationId xmlns:a16="http://schemas.microsoft.com/office/drawing/2014/main" id="{DF98B2F7-BEAF-17E3-0C2E-7C9AB8F8F64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57977" y="2446419"/>
            <a:ext cx="6676045" cy="1965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2701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501C1CF0-6452-4D4E-9BC7-65EADBD5EEC4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Background White">
            <a:extLst>
              <a:ext uri="{FF2B5EF4-FFF2-40B4-BE49-F238E27FC236}">
                <a16:creationId xmlns:a16="http://schemas.microsoft.com/office/drawing/2014/main" id="{FBA286CB-2DB7-49EA-ABB9-E63BB6315EDB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5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5808608" y="3790101"/>
            <a:ext cx="576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0926292C-4FD6-404F-8149-3EB0B4DF87B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808608" y="1757203"/>
            <a:ext cx="5760000" cy="1672899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275E4ACD-2699-4EB4-B72E-2EBE63C205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808608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8A1DAB4F-0FA1-4116-AD11-2FAD7B4CA74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328521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6199DA7C-0CA0-4D66-B211-C7E7EAED824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7464565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77B7EDDE-B2BF-41DF-B12E-29C55B064D28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77CD087C-DFE1-43D5-AF8C-29BB0B90F67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8A2B950C-C584-4156-BAA9-284D4A5BB0F4}"/>
              </a:ext>
            </a:extLst>
          </p:cNvPr>
          <p:cNvSpPr>
            <a:spLocks noGrp="1"/>
          </p:cNvSpPr>
          <p:nvPr>
            <p:ph type="dt" sz="half" idx="19"/>
            <p:custDataLst>
              <p:tags r:id="rId6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05BA39DF-1C65-465A-9ECA-C35A3F0705E9}"/>
              </a:ext>
            </a:extLst>
          </p:cNvPr>
          <p:cNvSpPr>
            <a:spLocks noGrp="1"/>
          </p:cNvSpPr>
          <p:nvPr>
            <p:ph type="ftr" sz="quarter" idx="20"/>
            <p:custDataLst>
              <p:tags r:id="rId7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237973C6-0D90-4AEE-BB6E-AE4A8B5BA26B}"/>
              </a:ext>
            </a:extLst>
          </p:cNvPr>
          <p:cNvSpPr>
            <a:spLocks noGrp="1"/>
          </p:cNvSpPr>
          <p:nvPr>
            <p:ph type="sldNum" sz="quarter" idx="21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D727B4D6-DF5E-49B7-A837-D207551F221D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" name="LOGO">
            <a:extLst>
              <a:ext uri="{FF2B5EF4-FFF2-40B4-BE49-F238E27FC236}">
                <a16:creationId xmlns:a16="http://schemas.microsoft.com/office/drawing/2014/main" id="{C2AAC32F-0B7D-23A2-5C0D-7F4099862102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36360" y="5517231"/>
            <a:ext cx="2502783" cy="736719"/>
          </a:xfrm>
          <a:prstGeom prst="rect">
            <a:avLst/>
          </a:prstGeom>
        </p:spPr>
      </p:pic>
      <p:sp>
        <p:nvSpPr>
          <p:cNvPr id="4" name="Crystal Shape">
            <a:extLst>
              <a:ext uri="{FF2B5EF4-FFF2-40B4-BE49-F238E27FC236}">
                <a16:creationId xmlns:a16="http://schemas.microsoft.com/office/drawing/2014/main" id="{F78FA4EE-1DD5-7407-0262-DA3A3C9AFF45}"/>
              </a:ext>
            </a:extLst>
          </p:cNvPr>
          <p:cNvSpPr/>
          <p:nvPr userDrawn="1"/>
        </p:nvSpPr>
        <p:spPr>
          <a:xfrm rot="16200000" flipH="1" flipV="1">
            <a:off x="-813049" y="813049"/>
            <a:ext cx="6857999" cy="5231904"/>
          </a:xfrm>
          <a:custGeom>
            <a:avLst/>
            <a:gdLst>
              <a:gd name="connsiteX0" fmla="*/ 6857999 w 6857999"/>
              <a:gd name="connsiteY0" fmla="*/ 1129077 h 3793483"/>
              <a:gd name="connsiteX1" fmla="*/ 6857999 w 6857999"/>
              <a:gd name="connsiteY1" fmla="*/ 3792536 h 3793483"/>
              <a:gd name="connsiteX2" fmla="*/ 0 w 6857999"/>
              <a:gd name="connsiteY2" fmla="*/ 3793483 h 3793483"/>
              <a:gd name="connsiteX3" fmla="*/ 0 w 6857999"/>
              <a:gd name="connsiteY3" fmla="*/ 729579 h 3793483"/>
              <a:gd name="connsiteX4" fmla="*/ 1748945 w 6857999"/>
              <a:gd name="connsiteY4" fmla="*/ 0 h 3793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7999" h="3793483">
                <a:moveTo>
                  <a:pt x="6857999" y="1129077"/>
                </a:moveTo>
                <a:lnTo>
                  <a:pt x="6857999" y="3792536"/>
                </a:lnTo>
                <a:lnTo>
                  <a:pt x="0" y="3793483"/>
                </a:lnTo>
                <a:lnTo>
                  <a:pt x="0" y="729579"/>
                </a:lnTo>
                <a:lnTo>
                  <a:pt x="1748945" y="0"/>
                </a:lnTo>
                <a:close/>
              </a:path>
            </a:pathLst>
          </a:custGeom>
          <a:solidFill>
            <a:srgbClr val="7390A6"/>
          </a:solidFill>
          <a:ln w="1154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9242328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4A951B-0B3C-4A20-86D2-B3C8F8FB9563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Background White">
            <a:extLst>
              <a:ext uri="{FF2B5EF4-FFF2-40B4-BE49-F238E27FC236}">
                <a16:creationId xmlns:a16="http://schemas.microsoft.com/office/drawing/2014/main" id="{1FBC75BD-957B-1EC7-B3A9-8C67FC480706}"/>
              </a:ext>
            </a:extLst>
          </p:cNvPr>
          <p:cNvSpPr/>
          <p:nvPr userDrawn="1"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rtl="0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Crystal Shape">
            <a:extLst>
              <a:ext uri="{FF2B5EF4-FFF2-40B4-BE49-F238E27FC236}">
                <a16:creationId xmlns:a16="http://schemas.microsoft.com/office/drawing/2014/main" id="{2EA7ACC0-9174-0F6F-0B3E-9FE773D0A408}"/>
              </a:ext>
            </a:extLst>
          </p:cNvPr>
          <p:cNvSpPr/>
          <p:nvPr userDrawn="1"/>
        </p:nvSpPr>
        <p:spPr bwMode="auto">
          <a:xfrm>
            <a:off x="2" y="1"/>
            <a:ext cx="12191999" cy="3932241"/>
          </a:xfrm>
          <a:custGeom>
            <a:avLst/>
            <a:gdLst>
              <a:gd name="connsiteX0" fmla="*/ 0 w 12191999"/>
              <a:gd name="connsiteY0" fmla="*/ 0 h 3932241"/>
              <a:gd name="connsiteX1" fmla="*/ 12191999 w 12191999"/>
              <a:gd name="connsiteY1" fmla="*/ 0 h 3932241"/>
              <a:gd name="connsiteX2" fmla="*/ 12191999 w 12191999"/>
              <a:gd name="connsiteY2" fmla="*/ 3726156 h 3932241"/>
              <a:gd name="connsiteX3" fmla="*/ 3063660 w 12191999"/>
              <a:gd name="connsiteY3" fmla="*/ 2179105 h 3932241"/>
              <a:gd name="connsiteX4" fmla="*/ 387 w 12191999"/>
              <a:gd name="connsiteY4" fmla="*/ 3726157 h 3932241"/>
              <a:gd name="connsiteX5" fmla="*/ 387 w 12191999"/>
              <a:gd name="connsiteY5" fmla="*/ 3932241 h 3932241"/>
              <a:gd name="connsiteX6" fmla="*/ 0 w 12191999"/>
              <a:gd name="connsiteY6" fmla="*/ 3932241 h 3932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932241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932241"/>
                </a:lnTo>
                <a:lnTo>
                  <a:pt x="0" y="3932241"/>
                </a:lnTo>
                <a:close/>
              </a:path>
            </a:pathLst>
          </a:custGeom>
          <a:solidFill>
            <a:srgbClr val="7390A6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defTabSz="576000" rtl="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2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DDFB9099-E080-4657-A124-1583A7385081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4001" y="4161599"/>
            <a:ext cx="8280000" cy="1119600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597455C0-1C86-4D66-BC01-C39FC063630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96E39437-30C8-4D2C-BDE0-D743E3FA80D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4B8FCDCD-762A-43C6-901A-F85ED8B716C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E1EDD075-E4C7-4D42-B9EA-266CAA36278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CHAPTER_REFERENCE" hidden="1">
            <a:extLst>
              <a:ext uri="{FF2B5EF4-FFF2-40B4-BE49-F238E27FC236}">
                <a16:creationId xmlns:a16="http://schemas.microsoft.com/office/drawing/2014/main" id="{69714F47-DD62-4063-BF75-AE10B75ACD2F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4801112-C226-4D1B-8109-89A1EA6E6950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6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4A132925-95FA-4753-A3A8-100A8B4A5840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7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90BC69B8-D726-4EBC-AE1A-053251677C8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3B046A58-B894-4C62-9312-C4EF9EDFF3F0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75564267-9319-13F8-EEAD-D9F259FB3603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36360" y="5517231"/>
            <a:ext cx="2502783" cy="736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391533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mpower_additionalText_placeholder" hidden="1">
            <a:extLst>
              <a:ext uri="{FF2B5EF4-FFF2-40B4-BE49-F238E27FC236}">
                <a16:creationId xmlns:a16="http://schemas.microsoft.com/office/drawing/2014/main" id="{93F7048C-8316-453D-8883-8716B78B030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19AD8A63-6441-49F3-BD90-8D4DF9E47EE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7EE7D08-6A4F-4583-B0FB-2642238529C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BBB3932D-D47B-4955-93EE-467AC52E4E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ED12D396-6789-4220-B5FF-8F4E755A3C7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807386D-5007-41B0-8720-8A575EEBA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F5FE3C92-21D9-4EC7-8208-A5BA097E9D7D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D1F9AA12-4C8C-4488-AF38-E06943B19AA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971F8BAB-E178-4122-ADFD-FE4894CC864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F4BB077B-5178-4306-A596-17CDBFA21A56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D23B78-ED4D-4135-B16E-F5097554D30C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412B8607-B23A-4B09-29E2-7B18B9C4510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E8709A32-06C2-5D14-0E57-F7052C80D8DE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3" name="empower_date_placeholder">
            <a:extLst>
              <a:ext uri="{FF2B5EF4-FFF2-40B4-BE49-F238E27FC236}">
                <a16:creationId xmlns:a16="http://schemas.microsoft.com/office/drawing/2014/main" id="{CD947C19-BE9E-42FB-5ECF-720327140FF7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15" orient="horz" pos="79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mpower_additionalText_placeholder" hidden="1">
            <a:extLst>
              <a:ext uri="{FF2B5EF4-FFF2-40B4-BE49-F238E27FC236}">
                <a16:creationId xmlns:a16="http://schemas.microsoft.com/office/drawing/2014/main" id="{9D9C4037-B0BC-4E62-B476-A41D0440655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BEA6DD0-FBBB-494B-9C03-C447E71492A5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3" name="empower_proprietary_placeholder" hidden="1">
            <a:extLst>
              <a:ext uri="{FF2B5EF4-FFF2-40B4-BE49-F238E27FC236}">
                <a16:creationId xmlns:a16="http://schemas.microsoft.com/office/drawing/2014/main" id="{295E96AB-B6AB-4A8B-A097-6438B2DA5C5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5" name="empower_draft_placeholder" hidden="1">
            <a:extLst>
              <a:ext uri="{FF2B5EF4-FFF2-40B4-BE49-F238E27FC236}">
                <a16:creationId xmlns:a16="http://schemas.microsoft.com/office/drawing/2014/main" id="{0B3EC6CF-5868-40BD-BF1B-882B13F49F5C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9" name="empower_classification_attention_placeholder" hidden="1">
            <a:extLst>
              <a:ext uri="{FF2B5EF4-FFF2-40B4-BE49-F238E27FC236}">
                <a16:creationId xmlns:a16="http://schemas.microsoft.com/office/drawing/2014/main" id="{E695FB18-B641-433F-A03A-D58B93F377B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0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2209D2CA-FDE2-4B12-9D75-213CCFE3FA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9" name="LOGO PROTECTION" hidden="1">
            <a:extLst>
              <a:ext uri="{FF2B5EF4-FFF2-40B4-BE49-F238E27FC236}">
                <a16:creationId xmlns:a16="http://schemas.microsoft.com/office/drawing/2014/main" id="{DF1FB678-4F92-45E5-9B25-2B5FE93A0952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0BE19B5-FA3E-481C-ACF3-046C2AA8A91D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AE7C2CD8-51F6-84D5-C470-B938F011AB2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EE4D22F7-7348-86BB-D216-A2E404B743A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51FD46C1-99E4-32F0-2F7E-6F40AFB84D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empower_footer_placeholder">
            <a:extLst>
              <a:ext uri="{FF2B5EF4-FFF2-40B4-BE49-F238E27FC236}">
                <a16:creationId xmlns:a16="http://schemas.microsoft.com/office/drawing/2014/main" id="{D80519F5-DC38-5EB4-DCE5-15803AFCF301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4" name="empower_classification_placeholder">
            <a:extLst>
              <a:ext uri="{FF2B5EF4-FFF2-40B4-BE49-F238E27FC236}">
                <a16:creationId xmlns:a16="http://schemas.microsoft.com/office/drawing/2014/main" id="{93CB6694-F2BC-6EDE-3799-6630E99AAA2C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5" name="empower_date_placeholder">
            <a:extLst>
              <a:ext uri="{FF2B5EF4-FFF2-40B4-BE49-F238E27FC236}">
                <a16:creationId xmlns:a16="http://schemas.microsoft.com/office/drawing/2014/main" id="{ADD54DAA-8021-EA19-BCAA-E12A1D066445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40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FD35C554-56A1-4651-98F3-FC19B8770A8A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ocument_placeholder" hidden="1">
            <a:extLst>
              <a:ext uri="{FF2B5EF4-FFF2-40B4-BE49-F238E27FC236}">
                <a16:creationId xmlns:a16="http://schemas.microsoft.com/office/drawing/2014/main" id="{4FA374A8-328C-4586-BEF8-CF0921FBF7D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4" name="empower_proprietary_placeholder" hidden="1">
            <a:extLst>
              <a:ext uri="{FF2B5EF4-FFF2-40B4-BE49-F238E27FC236}">
                <a16:creationId xmlns:a16="http://schemas.microsoft.com/office/drawing/2014/main" id="{AEB670C2-21D6-4210-BA37-DF3C9B9933BC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6" name="empower_draft_placeholder" hidden="1">
            <a:extLst>
              <a:ext uri="{FF2B5EF4-FFF2-40B4-BE49-F238E27FC236}">
                <a16:creationId xmlns:a16="http://schemas.microsoft.com/office/drawing/2014/main" id="{21B71886-0324-4B36-AA82-C90CF46385B2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0" name="empower_classification_attention_placeholder" hidden="1">
            <a:extLst>
              <a:ext uri="{FF2B5EF4-FFF2-40B4-BE49-F238E27FC236}">
                <a16:creationId xmlns:a16="http://schemas.microsoft.com/office/drawing/2014/main" id="{B5FD8F85-4CB3-489A-86B2-4ABCB308F30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5688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Right"/>
          <p:cNvSpPr>
            <a:spLocks noGrp="1"/>
          </p:cNvSpPr>
          <p:nvPr>
            <p:ph sz="quarter" idx="14" hasCustomPrompt="1"/>
          </p:nvPr>
        </p:nvSpPr>
        <p:spPr>
          <a:xfrm>
            <a:off x="6167439" y="1268414"/>
            <a:ext cx="5689202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73E7DFD-EB78-498B-97A4-CE06BA4BE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D623209F-EEBF-4451-AF99-363F6EA35F67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9850AB63-C5F5-4BA2-A73E-BB668324B70F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1" name="Footer Placeholder 10" hidden="1">
            <a:extLst>
              <a:ext uri="{FF2B5EF4-FFF2-40B4-BE49-F238E27FC236}">
                <a16:creationId xmlns:a16="http://schemas.microsoft.com/office/drawing/2014/main" id="{ED18627F-EDFA-45CA-A572-C60F0E37473A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Slide Number Placeholder 12" hidden="1">
            <a:extLst>
              <a:ext uri="{FF2B5EF4-FFF2-40B4-BE49-F238E27FC236}">
                <a16:creationId xmlns:a16="http://schemas.microsoft.com/office/drawing/2014/main" id="{E2FA0071-6D08-45B0-AF4E-22BFCF09E76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673026AB-61DE-4BDA-8F8E-CCC68BAAE095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FC9B956D-C9B4-E014-74CC-9ACB45C6963F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27331360-D338-ADEF-ACD7-9356CB9DEF9F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5" name="empower_date_placeholder">
            <a:extLst>
              <a:ext uri="{FF2B5EF4-FFF2-40B4-BE49-F238E27FC236}">
                <a16:creationId xmlns:a16="http://schemas.microsoft.com/office/drawing/2014/main" id="{18485D17-1751-9AD8-996E-50DA73E1286B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7469">
          <p15:clr>
            <a:srgbClr val="FBAE40"/>
          </p15:clr>
        </p15:guide>
        <p15:guide id="3" pos="3795">
          <p15:clr>
            <a:srgbClr val="FBAE40"/>
          </p15:clr>
        </p15:guide>
        <p15:guide id="4" pos="211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Crystal Shape">
            <a:extLst>
              <a:ext uri="{FF2B5EF4-FFF2-40B4-BE49-F238E27FC236}">
                <a16:creationId xmlns:a16="http://schemas.microsoft.com/office/drawing/2014/main" id="{3FBBF7BF-BA7F-647C-39AB-CEDA0092AA91}"/>
              </a:ext>
            </a:extLst>
          </p:cNvPr>
          <p:cNvSpPr/>
          <p:nvPr userDrawn="1"/>
        </p:nvSpPr>
        <p:spPr>
          <a:xfrm rot="5400000">
            <a:off x="1207129" y="-1234005"/>
            <a:ext cx="6878637" cy="9330464"/>
          </a:xfrm>
          <a:custGeom>
            <a:avLst/>
            <a:gdLst>
              <a:gd name="connsiteX0" fmla="*/ 0 w 6870543"/>
              <a:gd name="connsiteY0" fmla="*/ 727877 h 5591944"/>
              <a:gd name="connsiteX1" fmla="*/ 1726296 w 6870543"/>
              <a:gd name="connsiteY1" fmla="*/ 0 h 5591944"/>
              <a:gd name="connsiteX2" fmla="*/ 6870543 w 6870543"/>
              <a:gd name="connsiteY2" fmla="*/ 1136853 h 5591944"/>
              <a:gd name="connsiteX3" fmla="*/ 6870543 w 6870543"/>
              <a:gd name="connsiteY3" fmla="*/ 5591944 h 5591944"/>
              <a:gd name="connsiteX4" fmla="*/ 0 w 6870543"/>
              <a:gd name="connsiteY4" fmla="*/ 5591944 h 5591944"/>
              <a:gd name="connsiteX5" fmla="*/ 0 w 6870543"/>
              <a:gd name="connsiteY5" fmla="*/ 727877 h 5591944"/>
              <a:gd name="connsiteX0" fmla="*/ 0 w 6870545"/>
              <a:gd name="connsiteY0" fmla="*/ 727877 h 9322375"/>
              <a:gd name="connsiteX1" fmla="*/ 1726296 w 6870545"/>
              <a:gd name="connsiteY1" fmla="*/ 0 h 9322375"/>
              <a:gd name="connsiteX2" fmla="*/ 6870543 w 6870545"/>
              <a:gd name="connsiteY2" fmla="*/ 1136853 h 9322375"/>
              <a:gd name="connsiteX3" fmla="*/ 6870545 w 6870545"/>
              <a:gd name="connsiteY3" fmla="*/ 9322375 h 9322375"/>
              <a:gd name="connsiteX4" fmla="*/ 0 w 6870545"/>
              <a:gd name="connsiteY4" fmla="*/ 5591944 h 9322375"/>
              <a:gd name="connsiteX5" fmla="*/ 0 w 6870545"/>
              <a:gd name="connsiteY5" fmla="*/ 727877 h 9322375"/>
              <a:gd name="connsiteX0" fmla="*/ 8092 w 6878637"/>
              <a:gd name="connsiteY0" fmla="*/ 727877 h 9330464"/>
              <a:gd name="connsiteX1" fmla="*/ 1734388 w 6878637"/>
              <a:gd name="connsiteY1" fmla="*/ 0 h 9330464"/>
              <a:gd name="connsiteX2" fmla="*/ 6878635 w 6878637"/>
              <a:gd name="connsiteY2" fmla="*/ 1136853 h 9330464"/>
              <a:gd name="connsiteX3" fmla="*/ 6878637 w 6878637"/>
              <a:gd name="connsiteY3" fmla="*/ 9322375 h 9330464"/>
              <a:gd name="connsiteX4" fmla="*/ 0 w 6878637"/>
              <a:gd name="connsiteY4" fmla="*/ 9330464 h 9330464"/>
              <a:gd name="connsiteX5" fmla="*/ 8092 w 6878637"/>
              <a:gd name="connsiteY5" fmla="*/ 727877 h 9330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78637" h="9330464">
                <a:moveTo>
                  <a:pt x="8092" y="727877"/>
                </a:moveTo>
                <a:lnTo>
                  <a:pt x="1734388" y="0"/>
                </a:lnTo>
                <a:lnTo>
                  <a:pt x="6878635" y="1136853"/>
                </a:lnTo>
                <a:cubicBezTo>
                  <a:pt x="6878636" y="3865360"/>
                  <a:pt x="6878636" y="6593868"/>
                  <a:pt x="6878637" y="9322375"/>
                </a:cubicBezTo>
                <a:lnTo>
                  <a:pt x="0" y="9330464"/>
                </a:lnTo>
                <a:cubicBezTo>
                  <a:pt x="2697" y="6462935"/>
                  <a:pt x="5395" y="3595406"/>
                  <a:pt x="8092" y="727877"/>
                </a:cubicBezTo>
                <a:close/>
              </a:path>
            </a:pathLst>
          </a:custGeom>
          <a:solidFill>
            <a:srgbClr val="7390A6"/>
          </a:solidFill>
          <a:ln w="1154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nter Section</a:t>
            </a:r>
          </a:p>
        </p:txBody>
      </p:sp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048F1C-4756-47EC-8B66-DB56E576453D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554E90-4FD5-45B2-A49A-214245B7F6D7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70743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Crystal Shape">
            <a:extLst>
              <a:ext uri="{FF2B5EF4-FFF2-40B4-BE49-F238E27FC236}">
                <a16:creationId xmlns:a16="http://schemas.microsoft.com/office/drawing/2014/main" id="{63F28C96-D1D9-271E-B326-A1C4DC6BC78F}"/>
              </a:ext>
            </a:extLst>
          </p:cNvPr>
          <p:cNvSpPr/>
          <p:nvPr userDrawn="1"/>
        </p:nvSpPr>
        <p:spPr>
          <a:xfrm rot="16200000">
            <a:off x="6866258" y="1532259"/>
            <a:ext cx="6857999" cy="3793483"/>
          </a:xfrm>
          <a:custGeom>
            <a:avLst/>
            <a:gdLst>
              <a:gd name="connsiteX0" fmla="*/ 6857999 w 6857999"/>
              <a:gd name="connsiteY0" fmla="*/ 1129077 h 3793483"/>
              <a:gd name="connsiteX1" fmla="*/ 6857999 w 6857999"/>
              <a:gd name="connsiteY1" fmla="*/ 3792536 h 3793483"/>
              <a:gd name="connsiteX2" fmla="*/ 0 w 6857999"/>
              <a:gd name="connsiteY2" fmla="*/ 3793483 h 3793483"/>
              <a:gd name="connsiteX3" fmla="*/ 0 w 6857999"/>
              <a:gd name="connsiteY3" fmla="*/ 729579 h 3793483"/>
              <a:gd name="connsiteX4" fmla="*/ 1748945 w 6857999"/>
              <a:gd name="connsiteY4" fmla="*/ 0 h 3793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7999" h="3793483">
                <a:moveTo>
                  <a:pt x="6857999" y="1129077"/>
                </a:moveTo>
                <a:lnTo>
                  <a:pt x="6857999" y="3792536"/>
                </a:lnTo>
                <a:lnTo>
                  <a:pt x="0" y="3793483"/>
                </a:lnTo>
                <a:lnTo>
                  <a:pt x="0" y="729579"/>
                </a:lnTo>
                <a:lnTo>
                  <a:pt x="1748945" y="0"/>
                </a:lnTo>
                <a:close/>
              </a:path>
            </a:pathLst>
          </a:custGeom>
          <a:solidFill>
            <a:srgbClr val="7390A6"/>
          </a:solidFill>
          <a:ln w="1154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nter Section</a:t>
            </a: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E2919660-0784-4B00-9836-7A69515909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730618" y="280004"/>
            <a:ext cx="2135872" cy="628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47271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8B1B7AE2-264A-4900-9F60-CC5615C90F03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F2DD26D5-8427-4844-992F-AA5F995450F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879A7BCC-64D2-4276-855E-685546620EF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B8FD1BFA-BD00-4A1A-9BEE-984BDA7A138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0FDEE340-AE14-4EB2-8F0B-840A5F5E2FB9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Top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Top Right"/>
          <p:cNvSpPr>
            <a:spLocks noGrp="1"/>
          </p:cNvSpPr>
          <p:nvPr>
            <p:ph sz="quarter" idx="14" hasCustomPrompt="1"/>
          </p:nvPr>
        </p:nvSpPr>
        <p:spPr>
          <a:xfrm>
            <a:off x="6166799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Left"/>
          <p:cNvSpPr>
            <a:spLocks noGrp="1"/>
          </p:cNvSpPr>
          <p:nvPr>
            <p:ph sz="quarter" idx="15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 Right"/>
          <p:cNvSpPr>
            <a:spLocks noGrp="1"/>
          </p:cNvSpPr>
          <p:nvPr>
            <p:ph sz="quarter" idx="16" hasCustomPrompt="1"/>
          </p:nvPr>
        </p:nvSpPr>
        <p:spPr>
          <a:xfrm>
            <a:off x="6166799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4034893-5E9F-45A3-8C16-98C9F6C02B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4ED1F400-5A94-4F05-84F8-53C80E7C434C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C8E721-6FC1-4A4E-9559-94502407157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9885E48-72F6-4042-BF62-A49ACDF10504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242B527-F278-4C5E-9E24-C19CDFEB73B1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4E976BE-C7DE-4FCF-9535-07568046A13E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8EE896C8-53AD-E1F1-73C6-F4641DD5A57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FC4019C4-C393-67A6-FB53-9B1FB8AE8536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7" name="empower_date_placeholder">
            <a:extLst>
              <a:ext uri="{FF2B5EF4-FFF2-40B4-BE49-F238E27FC236}">
                <a16:creationId xmlns:a16="http://schemas.microsoft.com/office/drawing/2014/main" id="{8A932258-C7A9-9A56-FA85-31942E51E79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211">
          <p15:clr>
            <a:srgbClr val="FBAE40"/>
          </p15:clr>
        </p15:guide>
        <p15:guide id="3" pos="3885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  <p15:guide id="7" orient="horz" pos="2273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" hidden="1">
            <a:extLst>
              <a:ext uri="{FF2B5EF4-FFF2-40B4-BE49-F238E27FC236}">
                <a16:creationId xmlns:a16="http://schemas.microsoft.com/office/drawing/2014/main" id="{372AE43B-8F10-43C8-8785-1E1CB85CFAD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20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rgbClr val="928285"/>
              </a:buClr>
              <a:defRPr sz="100" b="0">
                <a:noFill/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7" name="Footer Placeholder" hidden="1">
            <a:extLst>
              <a:ext uri="{FF2B5EF4-FFF2-40B4-BE49-F238E27FC236}">
                <a16:creationId xmlns:a16="http://schemas.microsoft.com/office/drawing/2014/main" id="{4D268FD3-4056-49DC-8C79-D4C201EED6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1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/>
          </a:p>
        </p:txBody>
      </p:sp>
      <p:sp>
        <p:nvSpPr>
          <p:cNvPr id="6" name="Date Placeholder" hidden="1">
            <a:extLst>
              <a:ext uri="{FF2B5EF4-FFF2-40B4-BE49-F238E27FC236}">
                <a16:creationId xmlns:a16="http://schemas.microsoft.com/office/drawing/2014/main" id="{59032602-9911-40B1-9BF6-AFD731868C0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b="1"/>
          </a:p>
        </p:txBody>
      </p:sp>
      <p:sp>
        <p:nvSpPr>
          <p:cNvPr id="15" name="Title"/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/>
          <a:p>
            <a:r>
              <a:rPr lang="en-US" noProof="0"/>
              <a:t>Click to edit title</a:t>
            </a:r>
          </a:p>
        </p:txBody>
      </p:sp>
      <p:sp>
        <p:nvSpPr>
          <p:cNvPr id="16" name="Content"/>
          <p:cNvSpPr>
            <a:spLocks noGrp="1"/>
          </p:cNvSpPr>
          <p:nvPr>
            <p:ph type="body" idx="1"/>
          </p:nvPr>
        </p:nvSpPr>
        <p:spPr>
          <a:xfrm>
            <a:off x="334434" y="1268414"/>
            <a:ext cx="11521017" cy="5113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  <a:p>
            <a:pPr lvl="7"/>
            <a:r>
              <a:rPr lang="en-US" noProof="0"/>
              <a:t>Eighth level</a:t>
            </a:r>
          </a:p>
          <a:p>
            <a:pPr lvl="8"/>
            <a:r>
              <a:rPr lang="en-US" noProof="0"/>
              <a:t>Ninth level</a:t>
            </a:r>
          </a:p>
        </p:txBody>
      </p:sp>
      <p:sp>
        <p:nvSpPr>
          <p:cNvPr id="3" name="empower - DO NOT DELETE!!!" hidden="1"/>
          <p:cNvSpPr/>
          <p:nvPr userDrawn="1">
            <p:custDataLst>
              <p:tags r:id="rId23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lvl="0"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Fixed Page Placeholder">
            <a:extLst>
              <a:ext uri="{FF2B5EF4-FFF2-40B4-BE49-F238E27FC236}">
                <a16:creationId xmlns:a16="http://schemas.microsoft.com/office/drawing/2014/main" id="{E361B9A9-2219-4F44-982D-701D7F2A6185}"/>
              </a:ext>
            </a:extLst>
          </p:cNvPr>
          <p:cNvSpPr txBox="1"/>
          <p:nvPr userDrawn="1"/>
        </p:nvSpPr>
        <p:spPr bwMode="auto">
          <a:xfrm>
            <a:off x="11471403" y="6489341"/>
            <a:ext cx="384048" cy="361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</a:pPr>
            <a:fld id="{AE05A9AF-4D70-4052-9354-7E4D957B036D}" type="slidenum">
              <a:rPr lang="de-DE" sz="800" b="1" kern="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marR="0" indent="0" algn="r" defTabSz="57600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buFontTx/>
                <a:buNone/>
                <a:tabLst/>
              </a:pPr>
              <a:t>‹#›</a:t>
            </a:fld>
            <a:endParaRPr lang="de-DE" sz="800" b="1" kern="0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F0C8D1F1-BA28-4973-A394-021D3C969BE1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28448" y="260648"/>
            <a:ext cx="1891249" cy="556708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55" r:id="rId2"/>
    <p:sldLayoutId id="2147483751" r:id="rId3"/>
    <p:sldLayoutId id="2147483729" r:id="rId4"/>
    <p:sldLayoutId id="2147483730" r:id="rId5"/>
    <p:sldLayoutId id="2147483731" r:id="rId6"/>
    <p:sldLayoutId id="2147483747" r:id="rId7"/>
    <p:sldLayoutId id="2147483756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  <p:sldLayoutId id="2147483739" r:id="rId16"/>
    <p:sldLayoutId id="2147483754" r:id="rId17"/>
    <p:sldLayoutId id="2147483753" r:id="rId18"/>
  </p:sldLayoutIdLst>
  <p:hf hdr="0" dt="0"/>
  <p:txStyles>
    <p:titleStyle>
      <a:lvl1pPr algn="l" defTabSz="57600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Tx/>
        <a:buNone/>
        <a:defRPr sz="28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9pPr>
    </p:titleStyle>
    <p:bodyStyle>
      <a:lvl1pPr marL="252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2000" baseline="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800">
          <a:solidFill>
            <a:schemeClr val="tx1"/>
          </a:solidFill>
          <a:latin typeface="+mn-lt"/>
          <a:cs typeface="+mn-cs"/>
        </a:defRPr>
      </a:lvl2pPr>
      <a:lvl3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 baseline="0">
          <a:solidFill>
            <a:schemeClr val="tx1"/>
          </a:solidFill>
          <a:latin typeface="+mn-lt"/>
          <a:cs typeface="+mn-cs"/>
        </a:defRPr>
      </a:lvl3pPr>
      <a:lvl4pPr marL="1008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 baseline="0">
          <a:solidFill>
            <a:schemeClr val="tx1"/>
          </a:solidFill>
          <a:latin typeface="+mn-lt"/>
          <a:cs typeface="+mn-cs"/>
        </a:defRPr>
      </a:lvl4pPr>
      <a:lvl5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 baseline="0">
          <a:solidFill>
            <a:schemeClr val="tx1"/>
          </a:solidFill>
          <a:latin typeface="+mn-lt"/>
          <a:cs typeface="+mn-cs"/>
        </a:defRPr>
      </a:lvl5pPr>
      <a:lvl6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‒"/>
        <a:defRPr sz="1600" baseline="0">
          <a:solidFill>
            <a:schemeClr val="tx1"/>
          </a:solidFill>
          <a:latin typeface="+mn-lt"/>
          <a:cs typeface="+mn-cs"/>
        </a:defRPr>
      </a:lvl6pPr>
      <a:lvl7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7pPr>
      <a:lvl8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8pPr>
      <a:lvl9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CF2770-3E62-C44F-5AF9-E20B263C8B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3BA6F465-3916-8773-B818-BD758E4B9CA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Berkay Ipek – </a:t>
            </a:r>
            <a:r>
              <a:rPr lang="en-US" dirty="0" err="1"/>
              <a:t>ARPLab</a:t>
            </a:r>
            <a:br>
              <a:rPr lang="en-US" dirty="0"/>
            </a:br>
            <a:r>
              <a:rPr lang="en-US" dirty="0"/>
              <a:t>29/05/2025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D21872-DAF6-60D9-A8C6-43FAC75897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Biweekly Update Presentation 01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D45AC4-D753-C7C1-7012-F2EC9F1C431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9181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C90CE7-90A9-6EA4-D205-D396626E28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8B18803-181A-E8A8-D9B3-828148BD8C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done – Dynamic Calibration : Memory-SFDR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AA77E25-BB89-B066-1EB7-171119A47FE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85BDD6D-140B-EC79-3853-FEDF7F3CA8D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2E14F3C-E034-328B-1C85-45A5114A3567}"/>
              </a:ext>
            </a:extLst>
          </p:cNvPr>
          <p:cNvSpPr txBox="1"/>
          <p:nvPr/>
        </p:nvSpPr>
        <p:spPr bwMode="auto">
          <a:xfrm>
            <a:off x="10528433" y="3701374"/>
            <a:ext cx="1300401" cy="966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ctr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800" kern="0" baseline="0" dirty="0">
                <a:latin typeface="+mn-lt"/>
                <a:ea typeface="+mn-ea"/>
                <a:cs typeface="+mn-cs"/>
              </a:rPr>
              <a:t>Polynomial orders = </a:t>
            </a:r>
          </a:p>
          <a:p>
            <a:pPr marR="0" algn="ctr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800" kern="0" baseline="0" dirty="0">
                <a:latin typeface="+mn-lt"/>
                <a:ea typeface="+mn-ea"/>
                <a:cs typeface="+mn-cs"/>
              </a:rPr>
              <a:t>x</a:t>
            </a:r>
            <a:r>
              <a:rPr lang="en-US" sz="1800" kern="0" baseline="30000" dirty="0">
                <a:latin typeface="+mn-lt"/>
                <a:ea typeface="+mn-ea"/>
                <a:cs typeface="+mn-cs"/>
              </a:rPr>
              <a:t>1</a:t>
            </a:r>
            <a:r>
              <a:rPr lang="en-US" sz="1800" kern="0" baseline="0" dirty="0">
                <a:latin typeface="+mn-lt"/>
                <a:ea typeface="+mn-ea"/>
                <a:cs typeface="+mn-cs"/>
              </a:rPr>
              <a:t> x</a:t>
            </a:r>
            <a:r>
              <a:rPr lang="en-US" sz="1800" kern="0" baseline="30000" dirty="0">
                <a:latin typeface="+mn-lt"/>
                <a:ea typeface="+mn-ea"/>
                <a:cs typeface="+mn-cs"/>
              </a:rPr>
              <a:t>3</a:t>
            </a:r>
            <a:r>
              <a:rPr lang="en-US" sz="1800" kern="0" baseline="0" dirty="0">
                <a:latin typeface="+mn-lt"/>
                <a:ea typeface="+mn-ea"/>
                <a:cs typeface="+mn-cs"/>
              </a:rPr>
              <a:t> x</a:t>
            </a:r>
            <a:r>
              <a:rPr lang="en-US" sz="1800" kern="0" baseline="30000" dirty="0">
                <a:latin typeface="+mn-lt"/>
              </a:rPr>
              <a:t>5</a:t>
            </a:r>
            <a:r>
              <a:rPr lang="en-US" sz="1800" kern="0" baseline="0" dirty="0">
                <a:latin typeface="+mn-lt"/>
                <a:ea typeface="+mn-ea"/>
                <a:cs typeface="+mn-cs"/>
              </a:rPr>
              <a:t> x</a:t>
            </a:r>
            <a:r>
              <a:rPr lang="en-US" sz="1800" kern="0" baseline="30000" dirty="0">
                <a:latin typeface="+mn-lt"/>
              </a:rPr>
              <a:t>7</a:t>
            </a:r>
            <a:endParaRPr lang="tr-TR" sz="1800" kern="0" baseline="0" dirty="0">
              <a:latin typeface="+mn-lt"/>
              <a:ea typeface="+mn-ea"/>
              <a:cs typeface="+mn-cs"/>
            </a:endParaRPr>
          </a:p>
        </p:txBody>
      </p:sp>
      <p:pic>
        <p:nvPicPr>
          <p:cNvPr id="8" name="Picture 7" descr="A graph of numbers and lines&#10;&#10;AI-generated content may be incorrect.">
            <a:extLst>
              <a:ext uri="{FF2B5EF4-FFF2-40B4-BE49-F238E27FC236}">
                <a16:creationId xmlns:a16="http://schemas.microsoft.com/office/drawing/2014/main" id="{D4AEDB06-45EA-7EAC-0053-98B43986763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5096" y="1056189"/>
            <a:ext cx="8041807" cy="52903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29286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8C3901-1262-F335-5183-073B41AD23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DAFE8CF-90FA-3A58-8BA5-753E154B11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done – Dynamic Calibration : Memory-THD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770C61B-45E0-A62C-381B-14B12C87E08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F1E1DC-FCAA-E28D-234C-55499FA91BB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9" name="Picture 8" descr="A graph of numbers and lines&#10;&#10;AI-generated content may be incorrect.">
            <a:extLst>
              <a:ext uri="{FF2B5EF4-FFF2-40B4-BE49-F238E27FC236}">
                <a16:creationId xmlns:a16="http://schemas.microsoft.com/office/drawing/2014/main" id="{BE3BA131-85A4-98F0-1B15-0603D9CC199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2289" y="1305973"/>
            <a:ext cx="8307421" cy="536330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2EA45BED-75C4-D0FE-D050-37913F66E76E}"/>
              </a:ext>
            </a:extLst>
          </p:cNvPr>
          <p:cNvSpPr txBox="1"/>
          <p:nvPr/>
        </p:nvSpPr>
        <p:spPr bwMode="auto">
          <a:xfrm>
            <a:off x="10528433" y="3701374"/>
            <a:ext cx="1300401" cy="966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ctr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800" kern="0" baseline="0" dirty="0">
                <a:latin typeface="+mn-lt"/>
                <a:ea typeface="+mn-ea"/>
                <a:cs typeface="+mn-cs"/>
              </a:rPr>
              <a:t>Polynomial orders = </a:t>
            </a:r>
          </a:p>
          <a:p>
            <a:pPr marR="0" algn="ctr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800" kern="0" baseline="0" dirty="0">
                <a:latin typeface="+mn-lt"/>
                <a:ea typeface="+mn-ea"/>
                <a:cs typeface="+mn-cs"/>
              </a:rPr>
              <a:t>x</a:t>
            </a:r>
            <a:r>
              <a:rPr lang="en-US" sz="1800" kern="0" baseline="30000" dirty="0">
                <a:latin typeface="+mn-lt"/>
                <a:ea typeface="+mn-ea"/>
                <a:cs typeface="+mn-cs"/>
              </a:rPr>
              <a:t>1</a:t>
            </a:r>
            <a:r>
              <a:rPr lang="en-US" sz="1800" kern="0" baseline="0" dirty="0">
                <a:latin typeface="+mn-lt"/>
                <a:ea typeface="+mn-ea"/>
                <a:cs typeface="+mn-cs"/>
              </a:rPr>
              <a:t> x</a:t>
            </a:r>
            <a:r>
              <a:rPr lang="en-US" sz="1800" kern="0" baseline="30000" dirty="0">
                <a:latin typeface="+mn-lt"/>
                <a:ea typeface="+mn-ea"/>
                <a:cs typeface="+mn-cs"/>
              </a:rPr>
              <a:t>3</a:t>
            </a:r>
            <a:r>
              <a:rPr lang="en-US" sz="1800" kern="0" baseline="0" dirty="0">
                <a:latin typeface="+mn-lt"/>
                <a:ea typeface="+mn-ea"/>
                <a:cs typeface="+mn-cs"/>
              </a:rPr>
              <a:t> x</a:t>
            </a:r>
            <a:r>
              <a:rPr lang="en-US" sz="1800" kern="0" baseline="30000" dirty="0">
                <a:latin typeface="+mn-lt"/>
              </a:rPr>
              <a:t>5</a:t>
            </a:r>
            <a:r>
              <a:rPr lang="en-US" sz="1800" kern="0" baseline="0" dirty="0">
                <a:latin typeface="+mn-lt"/>
                <a:ea typeface="+mn-ea"/>
                <a:cs typeface="+mn-cs"/>
              </a:rPr>
              <a:t> x</a:t>
            </a:r>
            <a:r>
              <a:rPr lang="en-US" sz="1800" kern="0" baseline="30000" dirty="0">
                <a:latin typeface="+mn-lt"/>
              </a:rPr>
              <a:t>7</a:t>
            </a:r>
            <a:endParaRPr lang="tr-TR" sz="1800" kern="0" baseline="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51298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958D09-CDF4-8AEC-E49F-EBA5F750CE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B4CDCDF-00B8-DB2D-258F-5F6C45F89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the current status - Invertibility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08879A9-DAFE-9499-53C5-47F727DB07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079DF4D-6E05-4F2B-DA31-FF505CFDDC9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Segnaposto contenuto 2">
            <a:extLst>
              <a:ext uri="{FF2B5EF4-FFF2-40B4-BE49-F238E27FC236}">
                <a16:creationId xmlns:a16="http://schemas.microsoft.com/office/drawing/2014/main" id="{6A81F48F-6097-2D12-087C-EBC12619E1B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35360" y="1190593"/>
            <a:ext cx="10591108" cy="5113337"/>
          </a:xfrm>
        </p:spPr>
        <p:txBody>
          <a:bodyPr/>
          <a:lstStyle/>
          <a:p>
            <a:pPr marL="0" indent="0">
              <a:buNone/>
            </a:pPr>
            <a:r>
              <a:rPr lang="it-IT" u="sng" dirty="0"/>
              <a:t>Transfer Function of the buffer</a:t>
            </a:r>
            <a:endParaRPr lang="it-IT" dirty="0"/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r>
              <a:rPr lang="it-IT" dirty="0"/>
              <a:t>V</a:t>
            </a:r>
            <a:r>
              <a:rPr lang="it-IT" baseline="-25000" dirty="0"/>
              <a:t>in</a:t>
            </a:r>
            <a:r>
              <a:rPr lang="it-IT" dirty="0"/>
              <a:t> 						V</a:t>
            </a:r>
            <a:r>
              <a:rPr lang="it-IT" baseline="-25000" dirty="0"/>
              <a:t>buffer					</a:t>
            </a:r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endParaRPr lang="it-IT" u="sng" dirty="0"/>
          </a:p>
          <a:p>
            <a:pPr marL="0" indent="0">
              <a:buNone/>
            </a:pPr>
            <a:r>
              <a:rPr lang="it-IT" u="sng" dirty="0"/>
              <a:t>Mimicing the Transfer Function</a:t>
            </a:r>
            <a:endParaRPr lang="it-IT" dirty="0"/>
          </a:p>
          <a:p>
            <a:pPr marL="0" indent="0">
              <a:buNone/>
            </a:pPr>
            <a:r>
              <a:rPr lang="it-IT" i="1" dirty="0"/>
              <a:t>V</a:t>
            </a:r>
            <a:r>
              <a:rPr lang="it-IT" i="1" baseline="-25000" dirty="0"/>
              <a:t>in</a:t>
            </a:r>
          </a:p>
          <a:p>
            <a:pPr marL="0" indent="0">
              <a:buNone/>
            </a:pPr>
            <a:r>
              <a:rPr lang="it-IT" dirty="0"/>
              <a:t>						k</a:t>
            </a:r>
            <a:r>
              <a:rPr lang="it-IT" baseline="-25000" dirty="0"/>
              <a:t>i</a:t>
            </a:r>
            <a:r>
              <a:rPr lang="it-IT" dirty="0"/>
              <a:t>(j) (coefficients of H(s))</a:t>
            </a:r>
            <a:br>
              <a:rPr lang="it-IT" dirty="0"/>
            </a:br>
            <a:r>
              <a:rPr lang="it-IT" i="1" dirty="0"/>
              <a:t>V</a:t>
            </a:r>
            <a:r>
              <a:rPr lang="it-IT" i="1" baseline="-25000" dirty="0"/>
              <a:t>buffer</a:t>
            </a:r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r>
              <a:rPr lang="it-IT" dirty="0"/>
              <a:t>k</a:t>
            </a:r>
            <a:r>
              <a:rPr lang="it-IT" baseline="-25000" dirty="0"/>
              <a:t>i</a:t>
            </a:r>
            <a:r>
              <a:rPr lang="it-IT" dirty="0"/>
              <a:t>(j) 		  	</a:t>
            </a:r>
            <a:br>
              <a:rPr lang="it-IT" dirty="0"/>
            </a:br>
            <a:r>
              <a:rPr lang="it-IT" sz="1400" dirty="0"/>
              <a:t>	</a:t>
            </a:r>
            <a:r>
              <a:rPr lang="it-IT" dirty="0"/>
              <a:t>						     V</a:t>
            </a:r>
            <a:r>
              <a:rPr lang="it-IT" baseline="-25000" dirty="0"/>
              <a:t>out</a:t>
            </a:r>
            <a:r>
              <a:rPr lang="it-IT" sz="1600" dirty="0"/>
              <a:t>(ideally V</a:t>
            </a:r>
            <a:r>
              <a:rPr lang="it-IT" sz="1600" baseline="-25000" dirty="0"/>
              <a:t>buffer</a:t>
            </a:r>
            <a:r>
              <a:rPr lang="it-IT" sz="1600" dirty="0"/>
              <a:t>)</a:t>
            </a:r>
          </a:p>
          <a:p>
            <a:pPr marL="0" indent="0">
              <a:buNone/>
            </a:pPr>
            <a:r>
              <a:rPr lang="it-IT" dirty="0"/>
              <a:t>V</a:t>
            </a:r>
            <a:r>
              <a:rPr lang="it-IT" baseline="-25000" dirty="0"/>
              <a:t>in</a:t>
            </a:r>
          </a:p>
          <a:p>
            <a:pPr marL="0" indent="0">
              <a:buNone/>
            </a:pPr>
            <a:endParaRPr lang="it-IT" baseline="-25000" dirty="0"/>
          </a:p>
        </p:txBody>
      </p:sp>
      <p:cxnSp>
        <p:nvCxnSpPr>
          <p:cNvPr id="13" name="Connettore 2 12">
            <a:extLst>
              <a:ext uri="{FF2B5EF4-FFF2-40B4-BE49-F238E27FC236}">
                <a16:creationId xmlns:a16="http://schemas.microsoft.com/office/drawing/2014/main" id="{E178C0F0-F9B2-9B4A-C78F-FC802C5A34A8}"/>
              </a:ext>
            </a:extLst>
          </p:cNvPr>
          <p:cNvCxnSpPr/>
          <p:nvPr/>
        </p:nvCxnSpPr>
        <p:spPr>
          <a:xfrm>
            <a:off x="739114" y="3631803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ttangolo 13">
            <a:extLst>
              <a:ext uri="{FF2B5EF4-FFF2-40B4-BE49-F238E27FC236}">
                <a16:creationId xmlns:a16="http://schemas.microsoft.com/office/drawing/2014/main" id="{63860E1A-639B-0C3E-BD71-2D8081155E76}"/>
              </a:ext>
            </a:extLst>
          </p:cNvPr>
          <p:cNvSpPr/>
          <p:nvPr/>
        </p:nvSpPr>
        <p:spPr bwMode="auto">
          <a:xfrm>
            <a:off x="1512837" y="3450829"/>
            <a:ext cx="1383323" cy="984002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it-IT" sz="1600" dirty="0">
                <a:solidFill>
                  <a:schemeClr val="tx1"/>
                </a:solidFill>
              </a:rPr>
              <a:t>LMS loops</a:t>
            </a:r>
            <a:endParaRPr lang="it-IT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5" name="Connettore 2 14">
            <a:extLst>
              <a:ext uri="{FF2B5EF4-FFF2-40B4-BE49-F238E27FC236}">
                <a16:creationId xmlns:a16="http://schemas.microsoft.com/office/drawing/2014/main" id="{69AD6779-0879-1607-0264-9B568776E217}"/>
              </a:ext>
            </a:extLst>
          </p:cNvPr>
          <p:cNvCxnSpPr/>
          <p:nvPr/>
        </p:nvCxnSpPr>
        <p:spPr>
          <a:xfrm>
            <a:off x="2966499" y="3983493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ttore 2 15">
            <a:extLst>
              <a:ext uri="{FF2B5EF4-FFF2-40B4-BE49-F238E27FC236}">
                <a16:creationId xmlns:a16="http://schemas.microsoft.com/office/drawing/2014/main" id="{C87371B8-64EC-AF07-B944-6318198DE1BA}"/>
              </a:ext>
            </a:extLst>
          </p:cNvPr>
          <p:cNvCxnSpPr/>
          <p:nvPr/>
        </p:nvCxnSpPr>
        <p:spPr>
          <a:xfrm>
            <a:off x="739114" y="4288294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ttore 2 23">
            <a:extLst>
              <a:ext uri="{FF2B5EF4-FFF2-40B4-BE49-F238E27FC236}">
                <a16:creationId xmlns:a16="http://schemas.microsoft.com/office/drawing/2014/main" id="{D80CB2D3-A5BE-978F-AF77-3EEEAD5CEAE2}"/>
              </a:ext>
            </a:extLst>
          </p:cNvPr>
          <p:cNvCxnSpPr>
            <a:cxnSpLocks/>
          </p:cNvCxnSpPr>
          <p:nvPr/>
        </p:nvCxnSpPr>
        <p:spPr>
          <a:xfrm>
            <a:off x="906647" y="5027523"/>
            <a:ext cx="535851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ttangolo 24">
            <a:extLst>
              <a:ext uri="{FF2B5EF4-FFF2-40B4-BE49-F238E27FC236}">
                <a16:creationId xmlns:a16="http://schemas.microsoft.com/office/drawing/2014/main" id="{F6AE9F64-9AE9-5BEA-DE09-6598604B9A82}"/>
              </a:ext>
            </a:extLst>
          </p:cNvPr>
          <p:cNvSpPr/>
          <p:nvPr/>
        </p:nvSpPr>
        <p:spPr bwMode="auto">
          <a:xfrm>
            <a:off x="1512837" y="4846549"/>
            <a:ext cx="2250831" cy="984002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wrap="square" lIns="72000" tIns="72000" rIns="72000" bIns="72000" rtlCol="0" anchor="ctr"/>
          <a:lstStyle/>
          <a:p>
            <a:pPr marL="0" indent="0" algn="ctr">
              <a:buNone/>
            </a:pPr>
            <a:r>
              <a:rPr lang="it-IT" sz="1600" dirty="0"/>
              <a:t>Volterra series miming the buffer</a:t>
            </a:r>
            <a:endParaRPr lang="it-IT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9" name="Connettore 2 25">
            <a:extLst>
              <a:ext uri="{FF2B5EF4-FFF2-40B4-BE49-F238E27FC236}">
                <a16:creationId xmlns:a16="http://schemas.microsoft.com/office/drawing/2014/main" id="{E79C35F7-A8EA-28A1-231E-54FC0C1A6983}"/>
              </a:ext>
            </a:extLst>
          </p:cNvPr>
          <p:cNvCxnSpPr/>
          <p:nvPr/>
        </p:nvCxnSpPr>
        <p:spPr>
          <a:xfrm>
            <a:off x="3926077" y="5379213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ttore 2 26">
            <a:extLst>
              <a:ext uri="{FF2B5EF4-FFF2-40B4-BE49-F238E27FC236}">
                <a16:creationId xmlns:a16="http://schemas.microsoft.com/office/drawing/2014/main" id="{F99C3E73-9E1E-59FB-699E-418CE0F6B66A}"/>
              </a:ext>
            </a:extLst>
          </p:cNvPr>
          <p:cNvCxnSpPr/>
          <p:nvPr/>
        </p:nvCxnSpPr>
        <p:spPr>
          <a:xfrm>
            <a:off x="739114" y="5684014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4DA9887E-73A9-2461-A796-9CEFF20005B8}"/>
              </a:ext>
            </a:extLst>
          </p:cNvPr>
          <p:cNvSpPr txBox="1"/>
          <p:nvPr/>
        </p:nvSpPr>
        <p:spPr bwMode="auto">
          <a:xfrm>
            <a:off x="1563265" y="3512517"/>
            <a:ext cx="333415" cy="234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kern="0" baseline="0" dirty="0">
                <a:latin typeface="+mn-lt"/>
                <a:ea typeface="+mn-ea"/>
                <a:cs typeface="+mn-cs"/>
              </a:rPr>
              <a:t>in</a:t>
            </a:r>
            <a:endParaRPr lang="tr-TR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59DA747-C8C8-35F6-82EE-9898DF0B04BF}"/>
              </a:ext>
            </a:extLst>
          </p:cNvPr>
          <p:cNvSpPr txBox="1"/>
          <p:nvPr/>
        </p:nvSpPr>
        <p:spPr bwMode="auto">
          <a:xfrm>
            <a:off x="1563265" y="4138426"/>
            <a:ext cx="333415" cy="234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kern="0" baseline="0" dirty="0">
                <a:latin typeface="+mn-lt"/>
                <a:ea typeface="+mn-ea"/>
                <a:cs typeface="+mn-cs"/>
              </a:rPr>
              <a:t>out</a:t>
            </a:r>
            <a:endParaRPr lang="tr-TR" kern="0" baseline="0" dirty="0">
              <a:latin typeface="+mn-lt"/>
              <a:ea typeface="+mn-ea"/>
              <a:cs typeface="+mn-cs"/>
            </a:endParaRPr>
          </a:p>
        </p:txBody>
      </p:sp>
      <p:cxnSp>
        <p:nvCxnSpPr>
          <p:cNvPr id="9" name="Connettore 2 12">
            <a:extLst>
              <a:ext uri="{FF2B5EF4-FFF2-40B4-BE49-F238E27FC236}">
                <a16:creationId xmlns:a16="http://schemas.microsoft.com/office/drawing/2014/main" id="{F6EBB189-A667-6945-8D56-4BA4A4F20666}"/>
              </a:ext>
            </a:extLst>
          </p:cNvPr>
          <p:cNvCxnSpPr/>
          <p:nvPr/>
        </p:nvCxnSpPr>
        <p:spPr>
          <a:xfrm>
            <a:off x="761546" y="2137651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ttangolo 13">
            <a:extLst>
              <a:ext uri="{FF2B5EF4-FFF2-40B4-BE49-F238E27FC236}">
                <a16:creationId xmlns:a16="http://schemas.microsoft.com/office/drawing/2014/main" id="{C076FA9A-19FC-0C9E-BC91-E2A99F5B5CB8}"/>
              </a:ext>
            </a:extLst>
          </p:cNvPr>
          <p:cNvSpPr/>
          <p:nvPr/>
        </p:nvSpPr>
        <p:spPr bwMode="auto">
          <a:xfrm>
            <a:off x="1451503" y="1604987"/>
            <a:ext cx="1383323" cy="984002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it-IT" sz="1600" dirty="0">
                <a:solidFill>
                  <a:schemeClr val="tx1"/>
                </a:solidFill>
              </a:rPr>
              <a:t>H(s)</a:t>
            </a:r>
            <a:endParaRPr lang="it-IT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31" name="Connettore 2 14">
            <a:extLst>
              <a:ext uri="{FF2B5EF4-FFF2-40B4-BE49-F238E27FC236}">
                <a16:creationId xmlns:a16="http://schemas.microsoft.com/office/drawing/2014/main" id="{B601CE07-39F8-E477-D1B7-D4B05E2B2602}"/>
              </a:ext>
            </a:extLst>
          </p:cNvPr>
          <p:cNvCxnSpPr/>
          <p:nvPr/>
        </p:nvCxnSpPr>
        <p:spPr>
          <a:xfrm>
            <a:off x="2905165" y="2137651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3B5D3D89-634D-FE92-2546-0776FEB44B1E}"/>
              </a:ext>
            </a:extLst>
          </p:cNvPr>
          <p:cNvSpPr txBox="1"/>
          <p:nvPr/>
        </p:nvSpPr>
        <p:spPr bwMode="auto">
          <a:xfrm>
            <a:off x="1501931" y="1979616"/>
            <a:ext cx="333415" cy="234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kern="0" baseline="0" dirty="0">
                <a:latin typeface="+mn-lt"/>
                <a:ea typeface="+mn-ea"/>
                <a:cs typeface="+mn-cs"/>
              </a:rPr>
              <a:t>in</a:t>
            </a:r>
            <a:endParaRPr lang="tr-TR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1013EC0-0184-391C-BB67-5D6D78649867}"/>
              </a:ext>
            </a:extLst>
          </p:cNvPr>
          <p:cNvSpPr txBox="1"/>
          <p:nvPr/>
        </p:nvSpPr>
        <p:spPr bwMode="auto">
          <a:xfrm>
            <a:off x="2501411" y="1979616"/>
            <a:ext cx="333415" cy="234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kern="0" baseline="0" dirty="0">
                <a:latin typeface="+mn-lt"/>
                <a:ea typeface="+mn-ea"/>
                <a:cs typeface="+mn-cs"/>
              </a:rPr>
              <a:t>out</a:t>
            </a:r>
            <a:endParaRPr lang="tr-TR" kern="0" baseline="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75222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E3E2CA-B6E3-6F1B-16A8-2E2B8ECEFF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D313569-B3B6-A571-3FF7-E44D6D2C93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the current status - Invertibility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8FADBE7-CC94-3BE7-4A19-11D9D8D647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06E1CD-70A2-533E-FABE-2AF0D79A3C2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Segnaposto contenuto 2">
            <a:extLst>
              <a:ext uri="{FF2B5EF4-FFF2-40B4-BE49-F238E27FC236}">
                <a16:creationId xmlns:a16="http://schemas.microsoft.com/office/drawing/2014/main" id="{588BF532-7122-3017-E872-88313407ECD2}"/>
              </a:ext>
            </a:extLst>
          </p:cNvPr>
          <p:cNvSpPr txBox="1">
            <a:spLocks/>
          </p:cNvSpPr>
          <p:nvPr/>
        </p:nvSpPr>
        <p:spPr>
          <a:xfrm>
            <a:off x="335360" y="1190593"/>
            <a:ext cx="10591108" cy="5113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52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20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600" baseline="0">
                <a:solidFill>
                  <a:schemeClr val="tx1"/>
                </a:solidFill>
                <a:latin typeface="+mn-lt"/>
                <a:cs typeface="+mn-cs"/>
              </a:defRPr>
            </a:lvl6pPr>
            <a:lvl7pPr marL="1260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260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1260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it-IT" u="sng" kern="0" dirty="0"/>
              <a:t>Transfer Function of the buffer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it-IT" u="sng" kern="0" dirty="0"/>
          </a:p>
          <a:p>
            <a:pPr marL="0" indent="0">
              <a:buFont typeface="Arial" panose="020B0604020202020204" pitchFamily="34" charset="0"/>
              <a:buNone/>
            </a:pPr>
            <a:endParaRPr lang="it-IT" u="sng" kern="0" dirty="0"/>
          </a:p>
          <a:p>
            <a:pPr marL="0" indent="0">
              <a:buFont typeface="Arial" panose="020B0604020202020204" pitchFamily="34" charset="0"/>
              <a:buNone/>
            </a:pPr>
            <a:endParaRPr lang="it-IT" u="sng" kern="0" dirty="0"/>
          </a:p>
          <a:p>
            <a:pPr marL="0" indent="0">
              <a:buFont typeface="Arial" panose="020B0604020202020204" pitchFamily="34" charset="0"/>
              <a:buNone/>
            </a:pPr>
            <a:endParaRPr lang="it-IT" u="sng" kern="0" dirty="0"/>
          </a:p>
          <a:p>
            <a:pPr marL="0" indent="0">
              <a:buNone/>
            </a:pPr>
            <a:r>
              <a:rPr lang="it-IT" u="sng" kern="0" dirty="0"/>
              <a:t>Dynamic Calibration</a:t>
            </a:r>
          </a:p>
          <a:p>
            <a:pPr marL="0" indent="0">
              <a:buNone/>
            </a:pPr>
            <a:endParaRPr lang="it-IT" u="sng" kern="0" dirty="0"/>
          </a:p>
          <a:p>
            <a:pPr marL="0" indent="0">
              <a:buFont typeface="Arial" panose="020B0604020202020204" pitchFamily="34" charset="0"/>
              <a:buNone/>
            </a:pPr>
            <a:endParaRPr lang="it-IT" u="sng" kern="0" dirty="0"/>
          </a:p>
          <a:p>
            <a:pPr marL="0" indent="0">
              <a:buFont typeface="Arial" panose="020B0604020202020204" pitchFamily="34" charset="0"/>
              <a:buNone/>
            </a:pPr>
            <a:endParaRPr lang="it-IT" u="sng" kern="0" dirty="0"/>
          </a:p>
          <a:p>
            <a:pPr marL="0" indent="0">
              <a:buFont typeface="Arial" panose="020B0604020202020204" pitchFamily="34" charset="0"/>
              <a:buNone/>
            </a:pPr>
            <a:endParaRPr lang="it-IT" u="sng" kern="0" dirty="0"/>
          </a:p>
          <a:p>
            <a:pPr marL="0" indent="0">
              <a:buFont typeface="Arial" panose="020B0604020202020204" pitchFamily="34" charset="0"/>
              <a:buNone/>
            </a:pPr>
            <a:endParaRPr lang="it-IT" u="sng" kern="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it-IT" u="sng" kern="0" dirty="0"/>
              <a:t> </a:t>
            </a:r>
            <a:endParaRPr lang="it-IT" kern="0" dirty="0"/>
          </a:p>
          <a:p>
            <a:pPr marL="0" indent="0">
              <a:buFont typeface="Arial" panose="020B0604020202020204" pitchFamily="34" charset="0"/>
              <a:buNone/>
            </a:pPr>
            <a:endParaRPr lang="it-IT" i="1" kern="0" dirty="0"/>
          </a:p>
          <a:p>
            <a:pPr marL="0" indent="0">
              <a:buNone/>
            </a:pPr>
            <a:endParaRPr lang="it-IT" kern="0" dirty="0"/>
          </a:p>
          <a:p>
            <a:pPr marL="0" indent="0">
              <a:buFont typeface="Arial" panose="020B0604020202020204" pitchFamily="34" charset="0"/>
              <a:buNone/>
            </a:pPr>
            <a:endParaRPr lang="it-IT" kern="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it-IT" kern="0" dirty="0"/>
              <a:t>	  	</a:t>
            </a:r>
            <a:endParaRPr lang="it-IT" kern="0" baseline="-25000" dirty="0"/>
          </a:p>
        </p:txBody>
      </p:sp>
      <p:cxnSp>
        <p:nvCxnSpPr>
          <p:cNvPr id="37" name="Connettore 2 12">
            <a:extLst>
              <a:ext uri="{FF2B5EF4-FFF2-40B4-BE49-F238E27FC236}">
                <a16:creationId xmlns:a16="http://schemas.microsoft.com/office/drawing/2014/main" id="{56FF4B2B-7B7F-F735-0D91-0AE517A3DB94}"/>
              </a:ext>
            </a:extLst>
          </p:cNvPr>
          <p:cNvCxnSpPr/>
          <p:nvPr/>
        </p:nvCxnSpPr>
        <p:spPr>
          <a:xfrm>
            <a:off x="878278" y="2234928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ttangolo 13">
            <a:extLst>
              <a:ext uri="{FF2B5EF4-FFF2-40B4-BE49-F238E27FC236}">
                <a16:creationId xmlns:a16="http://schemas.microsoft.com/office/drawing/2014/main" id="{AC68D80E-C05F-5CF4-7625-27E58D6F5F6D}"/>
              </a:ext>
            </a:extLst>
          </p:cNvPr>
          <p:cNvSpPr/>
          <p:nvPr/>
        </p:nvSpPr>
        <p:spPr bwMode="auto">
          <a:xfrm>
            <a:off x="1568235" y="1702264"/>
            <a:ext cx="1383323" cy="984002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it-IT" sz="1600" dirty="0">
                <a:solidFill>
                  <a:schemeClr val="tx1"/>
                </a:solidFill>
              </a:rPr>
              <a:t>H(s)</a:t>
            </a:r>
            <a:endParaRPr lang="it-IT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39" name="Connettore 2 14">
            <a:extLst>
              <a:ext uri="{FF2B5EF4-FFF2-40B4-BE49-F238E27FC236}">
                <a16:creationId xmlns:a16="http://schemas.microsoft.com/office/drawing/2014/main" id="{A5CBA8C1-6DF3-37DD-D10C-6D68F9E72966}"/>
              </a:ext>
            </a:extLst>
          </p:cNvPr>
          <p:cNvCxnSpPr/>
          <p:nvPr/>
        </p:nvCxnSpPr>
        <p:spPr>
          <a:xfrm>
            <a:off x="3021897" y="2234928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0D35B2A7-2395-2A0E-150D-EBEBCF72F6D7}"/>
              </a:ext>
            </a:extLst>
          </p:cNvPr>
          <p:cNvSpPr txBox="1"/>
          <p:nvPr/>
        </p:nvSpPr>
        <p:spPr bwMode="auto">
          <a:xfrm>
            <a:off x="1618663" y="2076893"/>
            <a:ext cx="333415" cy="234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kern="0" baseline="0" dirty="0">
                <a:latin typeface="+mn-lt"/>
                <a:ea typeface="+mn-ea"/>
                <a:cs typeface="+mn-cs"/>
              </a:rPr>
              <a:t>in</a:t>
            </a:r>
            <a:endParaRPr lang="tr-TR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A0D09997-847A-BA31-BBE4-AAB37EDB4A25}"/>
              </a:ext>
            </a:extLst>
          </p:cNvPr>
          <p:cNvSpPr txBox="1"/>
          <p:nvPr/>
        </p:nvSpPr>
        <p:spPr bwMode="auto">
          <a:xfrm>
            <a:off x="2618143" y="2076893"/>
            <a:ext cx="333415" cy="234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kern="0" baseline="0" dirty="0">
                <a:latin typeface="+mn-lt"/>
                <a:ea typeface="+mn-ea"/>
                <a:cs typeface="+mn-cs"/>
              </a:rPr>
              <a:t>out</a:t>
            </a:r>
            <a:endParaRPr lang="tr-TR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EBCCE2D5-3353-795C-8311-A5C892BBDCD7}"/>
              </a:ext>
            </a:extLst>
          </p:cNvPr>
          <p:cNvSpPr txBox="1"/>
          <p:nvPr/>
        </p:nvSpPr>
        <p:spPr bwMode="auto">
          <a:xfrm>
            <a:off x="514388" y="2076893"/>
            <a:ext cx="472579" cy="335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2000" kern="0" baseline="0" dirty="0">
                <a:latin typeface="+mn-lt"/>
                <a:ea typeface="+mn-ea"/>
                <a:cs typeface="+mn-cs"/>
              </a:rPr>
              <a:t>V</a:t>
            </a:r>
            <a:r>
              <a:rPr lang="en-US" sz="2000" kern="0" baseline="-25000" dirty="0">
                <a:latin typeface="+mn-lt"/>
                <a:ea typeface="+mn-ea"/>
                <a:cs typeface="+mn-cs"/>
              </a:rPr>
              <a:t>in</a:t>
            </a:r>
            <a:endParaRPr lang="tr-TR" sz="2000" kern="0" baseline="-25000" dirty="0">
              <a:latin typeface="+mn-lt"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687E941-F420-2901-B98C-CBC0D73636DB}"/>
              </a:ext>
            </a:extLst>
          </p:cNvPr>
          <p:cNvSpPr txBox="1"/>
          <p:nvPr/>
        </p:nvSpPr>
        <p:spPr bwMode="auto">
          <a:xfrm>
            <a:off x="3831701" y="2076892"/>
            <a:ext cx="703384" cy="335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2000" kern="0" baseline="0" dirty="0" err="1">
                <a:latin typeface="+mn-lt"/>
                <a:ea typeface="+mn-ea"/>
                <a:cs typeface="+mn-cs"/>
              </a:rPr>
              <a:t>V</a:t>
            </a:r>
            <a:r>
              <a:rPr lang="en-US" sz="2000" kern="0" baseline="-25000" dirty="0" err="1">
                <a:latin typeface="+mn-lt"/>
              </a:rPr>
              <a:t>buffer</a:t>
            </a:r>
            <a:endParaRPr lang="tr-TR" sz="2000" kern="0" baseline="-25000" dirty="0">
              <a:latin typeface="+mn-lt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F0D138A-5133-7A5F-926D-C9C35507E0FE}"/>
              </a:ext>
            </a:extLst>
          </p:cNvPr>
          <p:cNvSpPr txBox="1"/>
          <p:nvPr/>
        </p:nvSpPr>
        <p:spPr bwMode="auto">
          <a:xfrm>
            <a:off x="4601193" y="2026558"/>
            <a:ext cx="4250988" cy="335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it-IT" sz="2000" dirty="0"/>
              <a:t>where k</a:t>
            </a:r>
            <a:r>
              <a:rPr lang="it-IT" sz="2000" baseline="-25000" dirty="0"/>
              <a:t>i</a:t>
            </a:r>
            <a:r>
              <a:rPr lang="it-IT" sz="2000" dirty="0"/>
              <a:t>(j) (coefficients of H(s))</a:t>
            </a:r>
            <a:endParaRPr lang="tr-TR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1AE8C97-E486-CE8B-F3E1-490C013D9D09}"/>
              </a:ext>
            </a:extLst>
          </p:cNvPr>
          <p:cNvSpPr txBox="1"/>
          <p:nvPr/>
        </p:nvSpPr>
        <p:spPr bwMode="auto">
          <a:xfrm>
            <a:off x="1541411" y="3899840"/>
            <a:ext cx="333415" cy="234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kern="0" baseline="0" dirty="0">
                <a:latin typeface="+mn-lt"/>
                <a:ea typeface="+mn-ea"/>
                <a:cs typeface="+mn-cs"/>
              </a:rPr>
              <a:t>in</a:t>
            </a:r>
            <a:endParaRPr lang="tr-TR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F36ADFAD-DD41-045E-5BCE-6C76613878D7}"/>
              </a:ext>
            </a:extLst>
          </p:cNvPr>
          <p:cNvSpPr txBox="1"/>
          <p:nvPr/>
        </p:nvSpPr>
        <p:spPr bwMode="auto">
          <a:xfrm>
            <a:off x="2618143" y="3885725"/>
            <a:ext cx="333415" cy="234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kern="0" baseline="0" dirty="0">
                <a:latin typeface="+mn-lt"/>
                <a:ea typeface="+mn-ea"/>
                <a:cs typeface="+mn-cs"/>
              </a:rPr>
              <a:t>out</a:t>
            </a:r>
            <a:endParaRPr lang="tr-TR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A92F8348-B5ED-A50E-925C-F6CE6E7E8568}"/>
              </a:ext>
            </a:extLst>
          </p:cNvPr>
          <p:cNvSpPr txBox="1"/>
          <p:nvPr/>
        </p:nvSpPr>
        <p:spPr bwMode="auto">
          <a:xfrm>
            <a:off x="514388" y="3885725"/>
            <a:ext cx="472579" cy="335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2000" kern="0" baseline="0" dirty="0">
                <a:latin typeface="+mn-lt"/>
                <a:ea typeface="+mn-ea"/>
                <a:cs typeface="+mn-cs"/>
              </a:rPr>
              <a:t>V</a:t>
            </a:r>
            <a:r>
              <a:rPr lang="en-US" sz="2000" kern="0" baseline="-25000" dirty="0">
                <a:latin typeface="+mn-lt"/>
                <a:ea typeface="+mn-ea"/>
                <a:cs typeface="+mn-cs"/>
              </a:rPr>
              <a:t>in</a:t>
            </a:r>
            <a:endParaRPr lang="tr-TR" sz="2000" kern="0" baseline="-25000" dirty="0">
              <a:latin typeface="+mn-lt"/>
              <a:ea typeface="+mn-ea"/>
              <a:cs typeface="+mn-cs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11EEA3F-58B3-E8D2-3ECE-77DBDDBAE309}"/>
              </a:ext>
            </a:extLst>
          </p:cNvPr>
          <p:cNvSpPr txBox="1"/>
          <p:nvPr/>
        </p:nvSpPr>
        <p:spPr bwMode="auto">
          <a:xfrm>
            <a:off x="3831701" y="3885724"/>
            <a:ext cx="703384" cy="335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2000" kern="0" baseline="0" dirty="0" err="1">
                <a:latin typeface="+mn-lt"/>
                <a:ea typeface="+mn-ea"/>
                <a:cs typeface="+mn-cs"/>
              </a:rPr>
              <a:t>V</a:t>
            </a:r>
            <a:r>
              <a:rPr lang="en-US" sz="2000" kern="0" baseline="-25000" dirty="0" err="1">
                <a:latin typeface="+mn-lt"/>
              </a:rPr>
              <a:t>buffer</a:t>
            </a:r>
            <a:endParaRPr lang="tr-TR" sz="2000" kern="0" baseline="-25000" dirty="0">
              <a:latin typeface="+mn-lt"/>
              <a:ea typeface="+mn-ea"/>
              <a:cs typeface="+mn-cs"/>
            </a:endParaRPr>
          </a:p>
        </p:txBody>
      </p:sp>
      <p:cxnSp>
        <p:nvCxnSpPr>
          <p:cNvPr id="52" name="Connettore 2 14">
            <a:extLst>
              <a:ext uri="{FF2B5EF4-FFF2-40B4-BE49-F238E27FC236}">
                <a16:creationId xmlns:a16="http://schemas.microsoft.com/office/drawing/2014/main" id="{51DA64B7-F6F0-5960-7FEC-E151B617B802}"/>
              </a:ext>
            </a:extLst>
          </p:cNvPr>
          <p:cNvCxnSpPr/>
          <p:nvPr/>
        </p:nvCxnSpPr>
        <p:spPr>
          <a:xfrm>
            <a:off x="4535085" y="4043760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ttangolo 13">
            <a:extLst>
              <a:ext uri="{FF2B5EF4-FFF2-40B4-BE49-F238E27FC236}">
                <a16:creationId xmlns:a16="http://schemas.microsoft.com/office/drawing/2014/main" id="{CC0DF37D-7255-B70C-06F2-4F493CCB299B}"/>
              </a:ext>
            </a:extLst>
          </p:cNvPr>
          <p:cNvSpPr/>
          <p:nvPr/>
        </p:nvSpPr>
        <p:spPr bwMode="auto">
          <a:xfrm>
            <a:off x="5250191" y="3511096"/>
            <a:ext cx="1383323" cy="984002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it-IT" sz="1600" dirty="0">
                <a:solidFill>
                  <a:schemeClr val="tx1"/>
                </a:solidFill>
              </a:rPr>
              <a:t>H</a:t>
            </a:r>
            <a:r>
              <a:rPr lang="it-IT" sz="1600" baseline="-25000" dirty="0">
                <a:solidFill>
                  <a:schemeClr val="tx1"/>
                </a:solidFill>
              </a:rPr>
              <a:t>calib</a:t>
            </a:r>
            <a:r>
              <a:rPr lang="it-IT" sz="1600" dirty="0">
                <a:solidFill>
                  <a:schemeClr val="tx1"/>
                </a:solidFill>
              </a:rPr>
              <a:t>(s)</a:t>
            </a:r>
            <a:endParaRPr lang="it-IT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9FA7563A-8B83-0D6C-A5C9-FE9752E0B561}"/>
              </a:ext>
            </a:extLst>
          </p:cNvPr>
          <p:cNvSpPr txBox="1"/>
          <p:nvPr/>
        </p:nvSpPr>
        <p:spPr bwMode="auto">
          <a:xfrm>
            <a:off x="5297499" y="3926388"/>
            <a:ext cx="333415" cy="234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kern="0" baseline="0" dirty="0">
                <a:latin typeface="+mn-lt"/>
                <a:ea typeface="+mn-ea"/>
                <a:cs typeface="+mn-cs"/>
              </a:rPr>
              <a:t>in</a:t>
            </a:r>
            <a:endParaRPr lang="tr-TR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9FA76ED7-16A6-6F77-0206-CCCF400B6D1F}"/>
              </a:ext>
            </a:extLst>
          </p:cNvPr>
          <p:cNvSpPr txBox="1"/>
          <p:nvPr/>
        </p:nvSpPr>
        <p:spPr bwMode="auto">
          <a:xfrm>
            <a:off x="6348146" y="3923442"/>
            <a:ext cx="333415" cy="234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kern="0" baseline="0" dirty="0">
                <a:latin typeface="+mn-lt"/>
                <a:ea typeface="+mn-ea"/>
                <a:cs typeface="+mn-cs"/>
              </a:rPr>
              <a:t>out</a:t>
            </a:r>
            <a:endParaRPr lang="tr-TR" kern="0" baseline="0" dirty="0">
              <a:latin typeface="+mn-lt"/>
              <a:ea typeface="+mn-ea"/>
              <a:cs typeface="+mn-cs"/>
            </a:endParaRPr>
          </a:p>
        </p:txBody>
      </p:sp>
      <p:cxnSp>
        <p:nvCxnSpPr>
          <p:cNvPr id="57" name="Connettore 2 14">
            <a:extLst>
              <a:ext uri="{FF2B5EF4-FFF2-40B4-BE49-F238E27FC236}">
                <a16:creationId xmlns:a16="http://schemas.microsoft.com/office/drawing/2014/main" id="{35446DBA-3A00-C430-7402-DB071E8602DC}"/>
              </a:ext>
            </a:extLst>
          </p:cNvPr>
          <p:cNvCxnSpPr/>
          <p:nvPr/>
        </p:nvCxnSpPr>
        <p:spPr>
          <a:xfrm>
            <a:off x="6633514" y="4054080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>
            <a:extLst>
              <a:ext uri="{FF2B5EF4-FFF2-40B4-BE49-F238E27FC236}">
                <a16:creationId xmlns:a16="http://schemas.microsoft.com/office/drawing/2014/main" id="{C911D959-08D2-7C23-BA68-D613E37E178C}"/>
              </a:ext>
            </a:extLst>
          </p:cNvPr>
          <p:cNvSpPr txBox="1"/>
          <p:nvPr/>
        </p:nvSpPr>
        <p:spPr bwMode="auto">
          <a:xfrm>
            <a:off x="7383449" y="3822773"/>
            <a:ext cx="3025147" cy="335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2000" kern="0" baseline="0" dirty="0" err="1">
                <a:latin typeface="+mn-lt"/>
                <a:ea typeface="+mn-ea"/>
                <a:cs typeface="+mn-cs"/>
              </a:rPr>
              <a:t>V</a:t>
            </a:r>
            <a:r>
              <a:rPr lang="en-US" sz="2000" kern="0" baseline="-25000" dirty="0" err="1">
                <a:latin typeface="+mn-lt"/>
              </a:rPr>
              <a:t>buffer</a:t>
            </a:r>
            <a:r>
              <a:rPr lang="en-US" sz="2000" kern="0" baseline="-25000" dirty="0">
                <a:latin typeface="+mn-lt"/>
              </a:rPr>
              <a:t> </a:t>
            </a:r>
            <a:r>
              <a:rPr lang="en-US" sz="1600" kern="0" dirty="0">
                <a:latin typeface="+mn-lt"/>
              </a:rPr>
              <a:t>(calibrated, ideally V</a:t>
            </a:r>
            <a:r>
              <a:rPr lang="en-US" sz="1600" kern="0" baseline="-25000" dirty="0">
                <a:latin typeface="+mn-lt"/>
              </a:rPr>
              <a:t>in</a:t>
            </a:r>
            <a:r>
              <a:rPr lang="en-US" sz="1600" kern="0" dirty="0">
                <a:latin typeface="+mn-lt"/>
              </a:rPr>
              <a:t>)</a:t>
            </a:r>
            <a:endParaRPr lang="tr-TR" sz="2000" kern="0" dirty="0">
              <a:latin typeface="+mn-lt"/>
              <a:ea typeface="+mn-ea"/>
              <a:cs typeface="+mn-cs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1B264F3D-CF1D-8A29-1568-77B2B625F201}"/>
              </a:ext>
            </a:extLst>
          </p:cNvPr>
          <p:cNvSpPr txBox="1"/>
          <p:nvPr/>
        </p:nvSpPr>
        <p:spPr bwMode="auto">
          <a:xfrm>
            <a:off x="3364918" y="5410777"/>
            <a:ext cx="5462163" cy="335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ctr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2000" kern="0" baseline="0" dirty="0">
                <a:latin typeface="+mn-lt"/>
                <a:ea typeface="+mn-ea"/>
                <a:cs typeface="+mn-cs"/>
              </a:rPr>
              <a:t>How to find coefficients for </a:t>
            </a:r>
            <a:r>
              <a:rPr lang="en-US" sz="2000" kern="0" baseline="0" dirty="0" err="1">
                <a:latin typeface="+mn-lt"/>
                <a:ea typeface="+mn-ea"/>
                <a:cs typeface="+mn-cs"/>
              </a:rPr>
              <a:t>H</a:t>
            </a:r>
            <a:r>
              <a:rPr lang="en-US" sz="2000" kern="0" baseline="-25000" dirty="0" err="1">
                <a:latin typeface="+mn-lt"/>
                <a:ea typeface="+mn-ea"/>
                <a:cs typeface="+mn-cs"/>
              </a:rPr>
              <a:t>calib</a:t>
            </a:r>
            <a:r>
              <a:rPr lang="en-US" sz="2000" kern="0" baseline="0" dirty="0">
                <a:latin typeface="+mn-lt"/>
                <a:ea typeface="+mn-ea"/>
                <a:cs typeface="+mn-cs"/>
              </a:rPr>
              <a:t>(s) ?</a:t>
            </a:r>
            <a:endParaRPr lang="tr-TR" sz="2000" kern="0" baseline="0" dirty="0">
              <a:latin typeface="+mn-lt"/>
              <a:ea typeface="+mn-ea"/>
              <a:cs typeface="+mn-cs"/>
            </a:endParaRPr>
          </a:p>
        </p:txBody>
      </p:sp>
      <p:cxnSp>
        <p:nvCxnSpPr>
          <p:cNvPr id="6" name="Connettore 2 6">
            <a:extLst>
              <a:ext uri="{FF2B5EF4-FFF2-40B4-BE49-F238E27FC236}">
                <a16:creationId xmlns:a16="http://schemas.microsoft.com/office/drawing/2014/main" id="{5C2A5491-57FC-BFC9-94A2-C9E770A09C22}"/>
              </a:ext>
            </a:extLst>
          </p:cNvPr>
          <p:cNvCxnSpPr/>
          <p:nvPr/>
        </p:nvCxnSpPr>
        <p:spPr>
          <a:xfrm>
            <a:off x="728982" y="4005163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ttangolo 7">
            <a:extLst>
              <a:ext uri="{FF2B5EF4-FFF2-40B4-BE49-F238E27FC236}">
                <a16:creationId xmlns:a16="http://schemas.microsoft.com/office/drawing/2014/main" id="{4FD904DE-DDBF-C707-F522-38C95A12A9A1}"/>
              </a:ext>
            </a:extLst>
          </p:cNvPr>
          <p:cNvSpPr/>
          <p:nvPr/>
        </p:nvSpPr>
        <p:spPr bwMode="auto">
          <a:xfrm>
            <a:off x="1502705" y="3553825"/>
            <a:ext cx="1383323" cy="902675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it-IT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8" name="Connettore 2 8">
            <a:extLst>
              <a:ext uri="{FF2B5EF4-FFF2-40B4-BE49-F238E27FC236}">
                <a16:creationId xmlns:a16="http://schemas.microsoft.com/office/drawing/2014/main" id="{367E4150-7F24-DEA6-2D72-45F92074A425}"/>
              </a:ext>
            </a:extLst>
          </p:cNvPr>
          <p:cNvCxnSpPr/>
          <p:nvPr/>
        </p:nvCxnSpPr>
        <p:spPr>
          <a:xfrm>
            <a:off x="2956367" y="4005163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A1005B12-3D9B-013C-03C8-F419EFA6718D}"/>
              </a:ext>
            </a:extLst>
          </p:cNvPr>
          <p:cNvSpPr/>
          <p:nvPr/>
        </p:nvSpPr>
        <p:spPr bwMode="auto">
          <a:xfrm rot="5400000">
            <a:off x="1815036" y="3694346"/>
            <a:ext cx="755867" cy="612843"/>
          </a:xfrm>
          <a:prstGeom prst="triangl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tr-TR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30963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04E4DD-7B55-D34F-785C-5CB18EDD68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E372F30-A35F-DA1D-6FED-8032E82CF2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the current status – Invertibility: </a:t>
            </a:r>
            <a:r>
              <a:rPr lang="en-US" dirty="0" err="1"/>
              <a:t>H</a:t>
            </a:r>
            <a:r>
              <a:rPr lang="en-US" baseline="-25000" dirty="0" err="1"/>
              <a:t>calib</a:t>
            </a:r>
            <a:r>
              <a:rPr lang="en-US" dirty="0"/>
              <a:t>(s)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8BE2A3-B419-4A40-518A-E87357CF2E5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2380692-57DA-9BC3-D027-4693167FA2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Segnaposto contenuto 2">
                <a:extLst>
                  <a:ext uri="{FF2B5EF4-FFF2-40B4-BE49-F238E27FC236}">
                    <a16:creationId xmlns:a16="http://schemas.microsoft.com/office/drawing/2014/main" id="{82EC9577-92FE-440F-CA7F-BDF0785097F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35360" y="1190593"/>
                <a:ext cx="10591108" cy="5113337"/>
              </a:xfrm>
              <a:prstGeom prst="rect">
                <a:avLst/>
              </a:prstGeom>
            </p:spPr>
            <p:txBody>
              <a:bodyPr vert="horz" lIns="0" tIns="0" rIns="0" bIns="0" rtlCol="0">
                <a:noAutofit/>
              </a:bodyPr>
              <a:lstStyle>
                <a:lvl1pPr marL="252000" indent="-252000" algn="l" defTabSz="576000" rtl="0" eaLnBrk="1" fontAlgn="base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SzPct val="100000"/>
                  <a:buFont typeface="Arial" panose="020B0604020202020204" pitchFamily="34" charset="0"/>
                  <a:buChar char="‒"/>
                  <a:defRPr sz="20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4000" indent="-252000" algn="l" defTabSz="576000" rtl="0" eaLnBrk="1" fontAlgn="base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SzPct val="100000"/>
                  <a:buFont typeface="Arial" panose="020B0604020202020204" pitchFamily="34" charset="0"/>
                  <a:buChar char="‒"/>
                  <a:defRPr sz="18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56000" indent="-252000" algn="l" defTabSz="576000" rtl="0" eaLnBrk="1" fontAlgn="base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SzPct val="100000"/>
                  <a:buFont typeface="Arial" panose="020B0604020202020204" pitchFamily="34" charset="0"/>
                  <a:buChar char="‒"/>
                  <a:defRPr sz="16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08000" indent="-252000" algn="l" defTabSz="576000" rtl="0" eaLnBrk="1" fontAlgn="base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SzPct val="100000"/>
                  <a:buFont typeface="Arial" panose="020B0604020202020204" pitchFamily="34" charset="0"/>
                  <a:buChar char="‒"/>
                  <a:defRPr sz="16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260000" indent="-252000" algn="l" defTabSz="576000" rtl="0" eaLnBrk="1" fontAlgn="base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SzPct val="100000"/>
                  <a:buFont typeface="Arial" panose="020B0604020202020204" pitchFamily="34" charset="0"/>
                  <a:buChar char="‒"/>
                  <a:defRPr sz="16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260000" indent="-252000" algn="l" defTabSz="576000" rtl="0" eaLnBrk="1" fontAlgn="base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Arial" panose="020B0604020202020204" pitchFamily="34" charset="0"/>
                  <a:buChar char="‒"/>
                  <a:defRPr sz="1600" baseline="0">
                    <a:solidFill>
                      <a:schemeClr val="tx1"/>
                    </a:solidFill>
                    <a:latin typeface="+mn-lt"/>
                    <a:cs typeface="+mn-cs"/>
                  </a:defRPr>
                </a:lvl6pPr>
                <a:lvl7pPr marL="1260000" indent="-252000" algn="l" defTabSz="576000" rtl="0" eaLnBrk="1" fontAlgn="base" hangingPunct="1">
                  <a:lnSpc>
                    <a:spcPct val="12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chemeClr val="tx2"/>
                  </a:buClr>
                  <a:buFont typeface="Arial" panose="020B0604020202020204" pitchFamily="34" charset="0"/>
                  <a:buChar char="‒"/>
                  <a:defRPr sz="1600">
                    <a:solidFill>
                      <a:schemeClr val="tx1"/>
                    </a:solidFill>
                    <a:latin typeface="+mn-lt"/>
                    <a:cs typeface="+mn-cs"/>
                  </a:defRPr>
                </a:lvl7pPr>
                <a:lvl8pPr marL="1260000" indent="-252000" algn="l" defTabSz="576000" rtl="0" eaLnBrk="1" fontAlgn="base" hangingPunct="1">
                  <a:lnSpc>
                    <a:spcPct val="12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chemeClr val="tx2"/>
                  </a:buClr>
                  <a:buFont typeface="Arial" panose="020B0604020202020204" pitchFamily="34" charset="0"/>
                  <a:buChar char="‒"/>
                  <a:defRPr sz="1600">
                    <a:solidFill>
                      <a:schemeClr val="tx1"/>
                    </a:solidFill>
                    <a:latin typeface="+mn-lt"/>
                    <a:cs typeface="+mn-cs"/>
                  </a:defRPr>
                </a:lvl8pPr>
                <a:lvl9pPr marL="1260000" indent="-252000" algn="l" defTabSz="576000" rtl="0" eaLnBrk="1" fontAlgn="base" hangingPunct="1">
                  <a:lnSpc>
                    <a:spcPct val="12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chemeClr val="tx2"/>
                  </a:buClr>
                  <a:buFont typeface="Arial" panose="020B0604020202020204" pitchFamily="34" charset="0"/>
                  <a:buChar char="‒"/>
                  <a:defRPr sz="1600">
                    <a:solidFill>
                      <a:schemeClr val="tx1"/>
                    </a:solidFill>
                    <a:latin typeface="+mn-lt"/>
                    <a:cs typeface="+mn-cs"/>
                  </a:defRPr>
                </a:lvl9pPr>
              </a:lstStyle>
              <a:p>
                <a:pPr marL="0" indent="0">
                  <a:buNone/>
                </a:pPr>
                <a:r>
                  <a:rPr lang="it-IT" u="sng" kern="0" dirty="0"/>
                  <a:t>Coefficients of H</a:t>
                </a:r>
                <a:r>
                  <a:rPr lang="it-IT" u="sng" kern="0" baseline="-25000" dirty="0"/>
                  <a:t>calib</a:t>
                </a:r>
                <a:r>
                  <a:rPr lang="it-IT" u="sng" kern="0" dirty="0"/>
                  <a:t>(s), </a:t>
                </a:r>
                <a14:m>
                  <m:oMath xmlns:m="http://schemas.openxmlformats.org/officeDocument/2006/math">
                    <m:r>
                      <a:rPr lang="en-US" b="0" i="0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(</m:t>
                    </m:r>
                    <m:r>
                      <a:rPr lang="en-US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𝛾</m:t>
                    </m:r>
                    <m:r>
                      <a:rPr lang="en-US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</m:t>
                    </m:r>
                    <m:r>
                      <a:rPr lang="en-US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𝛿</m:t>
                    </m:r>
                    <m:r>
                      <a:rPr lang="en-US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it-IT" u="sng" kern="0" dirty="0"/>
                  <a:t>  </a:t>
                </a:r>
              </a:p>
              <a:p>
                <a:pPr marL="0" indent="0">
                  <a:buNone/>
                </a:pPr>
                <a:endParaRPr lang="it-IT" u="sng" kern="0" dirty="0"/>
              </a:p>
              <a:p>
                <a:pPr marL="0" indent="0">
                  <a:buNone/>
                </a:pPr>
                <a:endParaRPr lang="it-IT" u="sng" kern="0" dirty="0"/>
              </a:p>
              <a:p>
                <a:pPr marL="0" indent="0">
                  <a:buNone/>
                </a:pPr>
                <a:endParaRPr lang="it-IT" u="sng" kern="0" dirty="0"/>
              </a:p>
              <a:p>
                <a:pPr marL="0" indent="0">
                  <a:buNone/>
                </a:pPr>
                <a:endParaRPr lang="it-IT" u="sng" kern="0" dirty="0"/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kern="0" smtClean="0">
                          <a:latin typeface="Cambria Math" panose="02040503050406030204" pitchFamily="18" charset="0"/>
                        </a:rPr>
                        <m:t>𝐻</m:t>
                      </m:r>
                      <m:d>
                        <m:dPr>
                          <m:ctrlPr>
                            <a:rPr lang="en-US" b="0" i="1" kern="0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kern="0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  <m:r>
                        <a:rPr lang="en-US" b="0" i="1" kern="0" smtClean="0">
                          <a:latin typeface="Cambria Math" panose="02040503050406030204" pitchFamily="18" charset="0"/>
                        </a:rPr>
                        <m:t>⇒ </m:t>
                      </m:r>
                      <m:r>
                        <a:rPr lang="en-US" b="0" i="1" kern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𝛼</m:t>
                      </m:r>
                      <m:r>
                        <a:rPr lang="en-US" b="0" i="1" kern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. </m:t>
                      </m:r>
                      <m:sSub>
                        <m:sSubPr>
                          <m:ctrlPr>
                            <a:rPr lang="en-US" b="0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en-US" b="0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𝑛</m:t>
                          </m:r>
                        </m:sub>
                      </m:sSub>
                      <m:r>
                        <a:rPr lang="en-US" b="0" i="1" kern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 </m:t>
                      </m:r>
                      <m:r>
                        <a:rPr lang="en-US" b="0" i="1" kern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𝛽</m:t>
                      </m:r>
                      <m:r>
                        <a:rPr lang="en-US" b="0" i="1" kern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.</m:t>
                      </m:r>
                      <m:sSubSup>
                        <m:sSubSupPr>
                          <m:ctrlPr>
                            <a:rPr lang="en-US" b="0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en-US" b="0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en-US" b="0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3</m:t>
                          </m:r>
                        </m:sup>
                      </m:sSubSup>
                      <m:r>
                        <a:rPr lang="en-US" b="0" i="1" kern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b="0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en-US" b="0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𝑏𝑢𝑓𝑓𝑒𝑟</m:t>
                          </m:r>
                        </m:sub>
                      </m:sSub>
                      <m:r>
                        <a:rPr lang="en-US" b="0" i="1" kern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;</m:t>
                      </m:r>
                      <m:r>
                        <a:rPr lang="en-US" b="0" i="0" kern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                        </m:t>
                      </m:r>
                      <m:sSub>
                        <m:sSubPr>
                          <m:ctrlPr>
                            <a:rPr lang="en-US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 ker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𝐻</m:t>
                          </m:r>
                        </m:e>
                        <m:sub>
                          <m:r>
                            <a:rPr lang="en-US" i="1" ker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𝑐𝑎𝑙𝑖𝑏</m:t>
                          </m:r>
                        </m:sub>
                      </m:sSub>
                      <m:d>
                        <m:dPr>
                          <m:ctrlPr>
                            <a:rPr lang="en-US" i="1" ker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i="1" ker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  <m:r>
                        <a:rPr lang="en-US" i="1" ker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⇒</m:t>
                      </m:r>
                      <m:r>
                        <a:rPr lang="en-US" b="0" i="1" kern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b="0" i="1" kern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𝛾</m:t>
                      </m:r>
                      <m:r>
                        <a:rPr lang="en-US" b="0" i="1" kern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.</m:t>
                      </m:r>
                      <m:sSub>
                        <m:sSubPr>
                          <m:ctrlPr>
                            <a:rPr lang="en-US" b="0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en-US" b="0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𝑏𝑢𝑓𝑓𝑒𝑟</m:t>
                          </m:r>
                        </m:sub>
                      </m:sSub>
                      <m:r>
                        <a:rPr lang="en-US" b="0" i="1" kern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 </m:t>
                      </m:r>
                      <m:r>
                        <a:rPr lang="en-US" b="0" i="1" kern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𝛿</m:t>
                      </m:r>
                      <m:r>
                        <a:rPr lang="en-US" b="0" i="1" kern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.</m:t>
                      </m:r>
                      <m:sSubSup>
                        <m:sSubSupPr>
                          <m:ctrlPr>
                            <a:rPr lang="en-US" b="0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en-US" b="0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𝑏𝑢𝑓𝑓𝑒𝑟</m:t>
                          </m:r>
                        </m:sub>
                        <m:sup>
                          <m:r>
                            <a:rPr lang="en-US" b="0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3</m:t>
                          </m:r>
                        </m:sup>
                      </m:sSubSup>
                      <m:r>
                        <a:rPr lang="en-US" b="0" i="1" kern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b="0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en-US" b="0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𝑏𝑢𝑓𝑓𝑒𝑟</m:t>
                          </m:r>
                        </m:sub>
                        <m:sup>
                          <m:r>
                            <a:rPr lang="en-US" b="0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𝑐𝑎𝑙𝑖𝑏</m:t>
                          </m:r>
                        </m:sup>
                      </m:sSubSup>
                    </m:oMath>
                  </m:oMathPara>
                </a14:m>
                <a:endParaRPr lang="it-IT" u="sng" kern="0" dirty="0"/>
              </a:p>
              <a:p>
                <a:pPr marL="0" indent="0" algn="ctr">
                  <a:buNone/>
                </a:pPr>
                <a:endParaRPr lang="en-US" kern="0" dirty="0">
                  <a:latin typeface="Cambria Math" panose="02040503050406030204" pitchFamily="18" charset="0"/>
                </a:endParaRPr>
              </a:p>
              <a:p>
                <a:pPr marL="0" indent="0" algn="ctr">
                  <a:buNone/>
                </a:pPr>
                <a:r>
                  <a:rPr lang="en-US" kern="0" dirty="0">
                    <a:latin typeface="Cambria Math" panose="02040503050406030204" pitchFamily="18" charset="0"/>
                  </a:rPr>
                  <a:t>Combining these two equations </a:t>
                </a:r>
              </a:p>
              <a:p>
                <a:pPr marL="0" indent="0">
                  <a:buNone/>
                </a:pPr>
                <a:endParaRPr lang="en-US" i="1" kern="0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marL="0" indent="0">
                  <a:buNone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𝑏𝑢𝑓𝑓𝑒𝑟</m:t>
                        </m:r>
                      </m:sub>
                      <m:sup>
                        <m: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𝑐𝑎𝑙𝑖𝑏</m:t>
                        </m:r>
                      </m:sup>
                    </m:sSubSup>
                    <m:r>
                      <a:rPr lang="en-US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 </m:t>
                    </m:r>
                    <m:r>
                      <a:rPr lang="en-US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𝛾</m:t>
                    </m:r>
                    <m:r>
                      <a:rPr lang="en-US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.</m:t>
                    </m:r>
                    <m:sSub>
                      <m:sSubPr>
                        <m:ctrlP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𝑏𝑢𝑓𝑓𝑒𝑟</m:t>
                        </m:r>
                      </m:sub>
                    </m:sSub>
                    <m:r>
                      <a:rPr lang="en-US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 </m:t>
                    </m:r>
                    <m:r>
                      <a:rPr lang="en-US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𝛿</m:t>
                    </m:r>
                    <m:r>
                      <a:rPr lang="en-US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.</m:t>
                    </m:r>
                    <m:sSubSup>
                      <m:sSubSupPr>
                        <m:ctrlP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𝑏𝑢𝑓𝑓𝑒𝑟</m:t>
                        </m:r>
                      </m:sub>
                      <m:sup>
                        <m: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3</m:t>
                        </m:r>
                      </m:sup>
                    </m:sSubSup>
                  </m:oMath>
                </a14:m>
                <a:r>
                  <a:rPr lang="it-IT" kern="0" dirty="0"/>
                  <a:t>= </a:t>
                </a:r>
                <a14:m>
                  <m:oMath xmlns:m="http://schemas.openxmlformats.org/officeDocument/2006/math">
                    <m:r>
                      <a:rPr lang="en-US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𝛾</m:t>
                    </m:r>
                    <m:r>
                      <a:rPr lang="en-US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.(</m:t>
                    </m:r>
                    <m:r>
                      <a:rPr lang="en-US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𝛼</m:t>
                    </m:r>
                    <m:r>
                      <a:rPr lang="en-US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. </m:t>
                    </m:r>
                    <m:sSub>
                      <m:sSubPr>
                        <m:ctrlP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𝑛</m:t>
                        </m:r>
                      </m:sub>
                    </m:sSub>
                    <m:r>
                      <a:rPr lang="en-US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 </m:t>
                    </m:r>
                    <m:r>
                      <a:rPr lang="en-US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𝛽</m:t>
                    </m:r>
                    <m:r>
                      <a:rPr lang="en-US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.</m:t>
                    </m:r>
                    <m:sSubSup>
                      <m:sSubSupPr>
                        <m:ctrlP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𝑛</m:t>
                        </m:r>
                      </m:sub>
                      <m:sup>
                        <m: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3</m:t>
                        </m:r>
                      </m:sup>
                    </m:sSubSup>
                    <m:r>
                      <a:rPr lang="en-US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)</m:t>
                    </m:r>
                    <m:r>
                      <a:rPr lang="en-US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 </m:t>
                    </m:r>
                    <m:r>
                      <a:rPr lang="en-US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𝛿</m:t>
                    </m:r>
                    <m:r>
                      <a:rPr lang="en-US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.</m:t>
                    </m:r>
                    <m:sSup>
                      <m:sSupPr>
                        <m:ctrlPr>
                          <a:rPr lang="en-US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(</m:t>
                        </m:r>
                        <m: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𝛼</m:t>
                        </m:r>
                        <m: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. </m:t>
                        </m:r>
                        <m:sSub>
                          <m:sSubPr>
                            <m:ctrlPr>
                              <a:rPr lang="en-US" i="1" ker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 ker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𝑉</m:t>
                            </m:r>
                          </m:e>
                          <m:sub>
                            <m:r>
                              <a:rPr lang="en-US" i="1" ker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𝑖𝑛</m:t>
                            </m:r>
                          </m:sub>
                        </m:sSub>
                        <m: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+ </m:t>
                        </m:r>
                        <m: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𝛽</m:t>
                        </m:r>
                        <m: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.</m:t>
                        </m:r>
                        <m:sSubSup>
                          <m:sSubSupPr>
                            <m:ctrlPr>
                              <a:rPr lang="en-US" i="1" ker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i="1" ker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𝑉</m:t>
                            </m:r>
                          </m:e>
                          <m:sub>
                            <m:r>
                              <a:rPr lang="en-US" i="1" ker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𝑖𝑛</m:t>
                            </m:r>
                          </m:sub>
                          <m:sup>
                            <m:r>
                              <a:rPr lang="en-US" i="1" ker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3</m:t>
                            </m:r>
                          </m:sup>
                        </m:sSubSup>
                        <m:r>
                          <a:rPr lang="en-US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)</m:t>
                        </m:r>
                      </m:e>
                      <m:sup>
                        <m:r>
                          <a:rPr lang="en-US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3</m:t>
                        </m:r>
                      </m:sup>
                    </m:sSup>
                  </m:oMath>
                </a14:m>
                <a:endParaRPr lang="it-IT" kern="0" dirty="0"/>
              </a:p>
              <a:p>
                <a:pPr marL="0" indent="0">
                  <a:buNone/>
                </a:pPr>
                <a:endParaRPr lang="it-IT" kern="0" dirty="0"/>
              </a:p>
              <a:p>
                <a:pPr marL="0" indent="0">
                  <a:buNone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en-US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r>
                          <a:rPr lang="en-US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𝑏𝑢𝑓𝑓𝑒𝑟</m:t>
                        </m:r>
                      </m:sub>
                      <m:sup>
                        <m:r>
                          <a:rPr lang="en-US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𝑐𝑎𝑙𝑖𝑏</m:t>
                        </m:r>
                      </m:sup>
                    </m:sSubSup>
                  </m:oMath>
                </a14:m>
                <a:r>
                  <a:rPr lang="it-IT" kern="0" dirty="0"/>
                  <a:t> = </a:t>
                </a:r>
                <a14:m>
                  <m:oMath xmlns:m="http://schemas.openxmlformats.org/officeDocument/2006/math">
                    <m:r>
                      <a:rPr lang="en-US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𝛾</m:t>
                    </m:r>
                    <m:r>
                      <a:rPr lang="en-US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.</m:t>
                    </m:r>
                    <m:r>
                      <a:rPr lang="en-US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𝛼</m:t>
                    </m:r>
                    <m:r>
                      <a:rPr lang="en-US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. </m:t>
                    </m:r>
                    <m:sSub>
                      <m:sSubPr>
                        <m:ctrlP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𝑛</m:t>
                        </m:r>
                      </m:sub>
                    </m:sSub>
                    <m:r>
                      <a:rPr lang="en-US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r>
                      <a:rPr lang="en-US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𝛾</m:t>
                    </m:r>
                    <m:r>
                      <a:rPr lang="en-US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.</m:t>
                    </m:r>
                    <m:r>
                      <a:rPr lang="en-US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𝛽</m:t>
                    </m:r>
                    <m:r>
                      <a:rPr lang="en-US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.</m:t>
                    </m:r>
                    <m:sSubSup>
                      <m:sSubSupPr>
                        <m:ctrlP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𝑛</m:t>
                        </m:r>
                      </m:sub>
                      <m:sup>
                        <m: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3</m:t>
                        </m:r>
                      </m:sup>
                    </m:sSubSup>
                    <m:r>
                      <a:rPr lang="en-US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r>
                      <a:rPr lang="en-US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𝛿</m:t>
                    </m:r>
                    <m:r>
                      <a:rPr lang="en-US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.</m:t>
                    </m:r>
                    <m:sSup>
                      <m:sSupPr>
                        <m:ctrlPr>
                          <a:rPr lang="en-US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𝛼</m:t>
                        </m:r>
                      </m:e>
                      <m:sup>
                        <m:r>
                          <a:rPr lang="en-US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3</m:t>
                        </m:r>
                      </m:sup>
                    </m:sSup>
                    <m:r>
                      <a:rPr lang="en-US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. </m:t>
                    </m:r>
                    <m:sSubSup>
                      <m:sSubSupPr>
                        <m:ctrlPr>
                          <a:rPr lang="en-US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r>
                          <a:rPr lang="en-US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𝑛</m:t>
                        </m:r>
                      </m:sub>
                      <m:sup>
                        <m:r>
                          <a:rPr lang="en-US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3</m:t>
                        </m:r>
                      </m:sup>
                    </m:sSubSup>
                    <m:r>
                      <a:rPr lang="en-US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 </m:t>
                    </m:r>
                    <m:r>
                      <m:rPr>
                        <m:sty m:val="p"/>
                      </m:rPr>
                      <a:rPr lang="el-GR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Θ</m:t>
                    </m:r>
                    <m:d>
                      <m:dPr>
                        <m:ctrlPr>
                          <a:rPr lang="en-US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en-US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𝑉</m:t>
                            </m:r>
                          </m:e>
                          <m:sub>
                            <m:r>
                              <a:rPr lang="en-US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𝑖𝑛</m:t>
                            </m:r>
                          </m:sub>
                          <m:sup>
                            <m:r>
                              <a:rPr lang="en-US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4</m:t>
                            </m:r>
                          </m:sup>
                        </m:sSubSup>
                      </m:e>
                    </m:d>
                    <m:r>
                      <a:rPr lang="en-US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≅</m:t>
                    </m:r>
                    <m:r>
                      <a:rPr lang="en-US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𝛾</m:t>
                    </m:r>
                    <m:r>
                      <a:rPr lang="en-US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.</m:t>
                    </m:r>
                    <m:r>
                      <a:rPr lang="en-US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𝛼</m:t>
                    </m:r>
                    <m:r>
                      <a:rPr lang="en-US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. </m:t>
                    </m:r>
                    <m:sSub>
                      <m:sSubPr>
                        <m:ctrlP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𝑛</m:t>
                        </m:r>
                      </m:sub>
                    </m:sSub>
                    <m:r>
                      <a:rPr lang="en-US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d>
                      <m:dPr>
                        <m:ctrlPr>
                          <a:rPr lang="en-US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𝛾</m:t>
                        </m:r>
                        <m: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.</m:t>
                        </m:r>
                        <m: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𝛽</m:t>
                        </m:r>
                        <m: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+</m:t>
                        </m:r>
                        <m: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𝛿</m:t>
                        </m:r>
                        <m: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.</m:t>
                        </m:r>
                        <m:sSup>
                          <m:sSupPr>
                            <m:ctrlPr>
                              <a:rPr lang="en-US" i="1" ker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i="1" ker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𝛼</m:t>
                            </m:r>
                          </m:e>
                          <m:sup>
                            <m:r>
                              <a:rPr lang="en-US" i="1" ker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3</m:t>
                            </m:r>
                          </m:sup>
                        </m:sSup>
                      </m:e>
                    </m:d>
                    <m:r>
                      <a:rPr lang="en-US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. </m:t>
                    </m:r>
                    <m:sSubSup>
                      <m:sSubSupPr>
                        <m:ctrlP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𝑛</m:t>
                        </m:r>
                      </m:sub>
                      <m:sup>
                        <m: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3</m:t>
                        </m:r>
                      </m:sup>
                    </m:sSubSup>
                  </m:oMath>
                </a14:m>
                <a:endParaRPr lang="it-IT" kern="0" dirty="0"/>
              </a:p>
              <a:p>
                <a:pPr marL="0" indent="0">
                  <a:buNone/>
                </a:pPr>
                <a:endParaRPr lang="it-IT" u="sng" kern="0" dirty="0"/>
              </a:p>
              <a:p>
                <a:pPr marL="0" indent="0">
                  <a:buNone/>
                </a:pPr>
                <a:endParaRPr lang="it-IT" u="sng" kern="0" dirty="0"/>
              </a:p>
              <a:p>
                <a:pPr marL="0" indent="0">
                  <a:buNone/>
                </a:pPr>
                <a:endParaRPr lang="it-IT" u="sng" kern="0" dirty="0"/>
              </a:p>
              <a:p>
                <a:pPr marL="0" indent="0">
                  <a:buNone/>
                </a:pPr>
                <a:endParaRPr lang="it-IT" u="sng" kern="0" dirty="0"/>
              </a:p>
              <a:p>
                <a:pPr marL="0" indent="0">
                  <a:buFont typeface="Arial" panose="020B0604020202020204" pitchFamily="34" charset="0"/>
                  <a:buNone/>
                </a:pPr>
                <a:endParaRPr lang="it-IT" u="sng" kern="0" dirty="0"/>
              </a:p>
              <a:p>
                <a:pPr marL="0" indent="0">
                  <a:buFont typeface="Arial" panose="020B0604020202020204" pitchFamily="34" charset="0"/>
                  <a:buNone/>
                </a:pPr>
                <a:endParaRPr lang="it-IT" u="sng" kern="0" dirty="0"/>
              </a:p>
              <a:p>
                <a:pPr marL="0" indent="0">
                  <a:buFont typeface="Arial" panose="020B0604020202020204" pitchFamily="34" charset="0"/>
                  <a:buNone/>
                </a:pPr>
                <a:endParaRPr lang="it-IT" u="sng" kern="0" dirty="0"/>
              </a:p>
              <a:p>
                <a:pPr marL="0" indent="0">
                  <a:buFont typeface="Arial" panose="020B0604020202020204" pitchFamily="34" charset="0"/>
                  <a:buNone/>
                </a:pPr>
                <a:endParaRPr lang="it-IT" u="sng" kern="0" dirty="0"/>
              </a:p>
              <a:p>
                <a:pPr marL="0" indent="0">
                  <a:buFont typeface="Arial" panose="020B0604020202020204" pitchFamily="34" charset="0"/>
                  <a:buNone/>
                </a:pPr>
                <a:r>
                  <a:rPr lang="it-IT" u="sng" kern="0" dirty="0"/>
                  <a:t> </a:t>
                </a:r>
                <a:endParaRPr lang="it-IT" kern="0" dirty="0"/>
              </a:p>
              <a:p>
                <a:pPr marL="0" indent="0">
                  <a:buFont typeface="Arial" panose="020B0604020202020204" pitchFamily="34" charset="0"/>
                  <a:buNone/>
                </a:pPr>
                <a:endParaRPr lang="it-IT" i="1" kern="0" dirty="0"/>
              </a:p>
              <a:p>
                <a:pPr marL="0" indent="0">
                  <a:buNone/>
                </a:pPr>
                <a:endParaRPr lang="it-IT" kern="0" dirty="0"/>
              </a:p>
              <a:p>
                <a:pPr marL="0" indent="0">
                  <a:buFont typeface="Arial" panose="020B0604020202020204" pitchFamily="34" charset="0"/>
                  <a:buNone/>
                </a:pPr>
                <a:endParaRPr lang="it-IT" kern="0" dirty="0"/>
              </a:p>
              <a:p>
                <a:pPr marL="0" indent="0">
                  <a:buFont typeface="Arial" panose="020B0604020202020204" pitchFamily="34" charset="0"/>
                  <a:buNone/>
                </a:pPr>
                <a:r>
                  <a:rPr lang="it-IT" kern="0" dirty="0"/>
                  <a:t>	  	</a:t>
                </a:r>
                <a:endParaRPr lang="it-IT" kern="0" baseline="-25000" dirty="0"/>
              </a:p>
            </p:txBody>
          </p:sp>
        </mc:Choice>
        <mc:Fallback xmlns="">
          <p:sp>
            <p:nvSpPr>
              <p:cNvPr id="2" name="Segnaposto contenuto 2">
                <a:extLst>
                  <a:ext uri="{FF2B5EF4-FFF2-40B4-BE49-F238E27FC236}">
                    <a16:creationId xmlns:a16="http://schemas.microsoft.com/office/drawing/2014/main" id="{82EC9577-92FE-440F-CA7F-BDF0785097F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5360" y="1190593"/>
                <a:ext cx="10591108" cy="5113337"/>
              </a:xfrm>
              <a:prstGeom prst="rect">
                <a:avLst/>
              </a:prstGeom>
              <a:blipFill>
                <a:blip r:embed="rId3"/>
                <a:stretch>
                  <a:fillRect l="-1439" t="-954"/>
                </a:stretch>
              </a:blipFill>
            </p:spPr>
            <p:txBody>
              <a:bodyPr/>
              <a:lstStyle/>
              <a:p>
                <a:r>
                  <a:rPr lang="tr-T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1" name="TextBox 50">
            <a:extLst>
              <a:ext uri="{FF2B5EF4-FFF2-40B4-BE49-F238E27FC236}">
                <a16:creationId xmlns:a16="http://schemas.microsoft.com/office/drawing/2014/main" id="{009F8A0B-98B4-120F-762B-3C9971D091CD}"/>
              </a:ext>
            </a:extLst>
          </p:cNvPr>
          <p:cNvSpPr txBox="1"/>
          <p:nvPr/>
        </p:nvSpPr>
        <p:spPr bwMode="auto">
          <a:xfrm>
            <a:off x="3890067" y="2095834"/>
            <a:ext cx="703384" cy="335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2000" kern="0" baseline="0" dirty="0" err="1">
                <a:latin typeface="+mn-lt"/>
                <a:ea typeface="+mn-ea"/>
                <a:cs typeface="+mn-cs"/>
              </a:rPr>
              <a:t>V</a:t>
            </a:r>
            <a:r>
              <a:rPr lang="en-US" sz="2000" kern="0" baseline="-25000" dirty="0" err="1">
                <a:latin typeface="+mn-lt"/>
              </a:rPr>
              <a:t>buffer</a:t>
            </a:r>
            <a:endParaRPr lang="tr-TR" sz="2000" kern="0" baseline="-25000" dirty="0">
              <a:latin typeface="+mn-lt"/>
              <a:ea typeface="+mn-ea"/>
              <a:cs typeface="+mn-cs"/>
            </a:endParaRPr>
          </a:p>
        </p:txBody>
      </p:sp>
      <p:cxnSp>
        <p:nvCxnSpPr>
          <p:cNvPr id="52" name="Connettore 2 14">
            <a:extLst>
              <a:ext uri="{FF2B5EF4-FFF2-40B4-BE49-F238E27FC236}">
                <a16:creationId xmlns:a16="http://schemas.microsoft.com/office/drawing/2014/main" id="{CC91D9DC-0CB3-3F7C-E8D7-AB34D9E07AF3}"/>
              </a:ext>
            </a:extLst>
          </p:cNvPr>
          <p:cNvCxnSpPr/>
          <p:nvPr/>
        </p:nvCxnSpPr>
        <p:spPr>
          <a:xfrm>
            <a:off x="4593451" y="2253870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ttangolo 13">
            <a:extLst>
              <a:ext uri="{FF2B5EF4-FFF2-40B4-BE49-F238E27FC236}">
                <a16:creationId xmlns:a16="http://schemas.microsoft.com/office/drawing/2014/main" id="{B87A2503-6A1A-2B23-DBAF-447C4AD2E2EC}"/>
              </a:ext>
            </a:extLst>
          </p:cNvPr>
          <p:cNvSpPr/>
          <p:nvPr/>
        </p:nvSpPr>
        <p:spPr bwMode="auto">
          <a:xfrm>
            <a:off x="5308557" y="1721206"/>
            <a:ext cx="1383323" cy="984002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it-IT" sz="1600" dirty="0">
                <a:solidFill>
                  <a:schemeClr val="tx1"/>
                </a:solidFill>
              </a:rPr>
              <a:t>H</a:t>
            </a:r>
            <a:r>
              <a:rPr lang="it-IT" sz="1600" baseline="-25000" dirty="0">
                <a:solidFill>
                  <a:schemeClr val="tx1"/>
                </a:solidFill>
              </a:rPr>
              <a:t>calib</a:t>
            </a:r>
            <a:r>
              <a:rPr lang="it-IT" sz="1600" dirty="0">
                <a:solidFill>
                  <a:schemeClr val="tx1"/>
                </a:solidFill>
              </a:rPr>
              <a:t>(s)</a:t>
            </a:r>
            <a:endParaRPr lang="it-IT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E4249060-91D2-7DFB-021D-D309CD440217}"/>
              </a:ext>
            </a:extLst>
          </p:cNvPr>
          <p:cNvSpPr txBox="1"/>
          <p:nvPr/>
        </p:nvSpPr>
        <p:spPr bwMode="auto">
          <a:xfrm>
            <a:off x="5355865" y="2136498"/>
            <a:ext cx="333415" cy="234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kern="0" baseline="0" dirty="0">
                <a:latin typeface="+mn-lt"/>
                <a:ea typeface="+mn-ea"/>
                <a:cs typeface="+mn-cs"/>
              </a:rPr>
              <a:t>in</a:t>
            </a:r>
            <a:endParaRPr lang="tr-TR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3D5BD694-5239-3046-AAEE-08FDC81D5163}"/>
              </a:ext>
            </a:extLst>
          </p:cNvPr>
          <p:cNvSpPr txBox="1"/>
          <p:nvPr/>
        </p:nvSpPr>
        <p:spPr bwMode="auto">
          <a:xfrm>
            <a:off x="6406512" y="2133552"/>
            <a:ext cx="333415" cy="234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kern="0" baseline="0" dirty="0">
                <a:latin typeface="+mn-lt"/>
                <a:ea typeface="+mn-ea"/>
                <a:cs typeface="+mn-cs"/>
              </a:rPr>
              <a:t>out</a:t>
            </a:r>
            <a:endParaRPr lang="tr-TR" kern="0" baseline="0" dirty="0">
              <a:latin typeface="+mn-lt"/>
              <a:ea typeface="+mn-ea"/>
              <a:cs typeface="+mn-cs"/>
            </a:endParaRPr>
          </a:p>
        </p:txBody>
      </p:sp>
      <p:cxnSp>
        <p:nvCxnSpPr>
          <p:cNvPr id="57" name="Connettore 2 14">
            <a:extLst>
              <a:ext uri="{FF2B5EF4-FFF2-40B4-BE49-F238E27FC236}">
                <a16:creationId xmlns:a16="http://schemas.microsoft.com/office/drawing/2014/main" id="{76437E66-0D50-90EF-E516-99FE64E3079B}"/>
              </a:ext>
            </a:extLst>
          </p:cNvPr>
          <p:cNvCxnSpPr/>
          <p:nvPr/>
        </p:nvCxnSpPr>
        <p:spPr>
          <a:xfrm>
            <a:off x="6691880" y="2264190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>
            <a:extLst>
              <a:ext uri="{FF2B5EF4-FFF2-40B4-BE49-F238E27FC236}">
                <a16:creationId xmlns:a16="http://schemas.microsoft.com/office/drawing/2014/main" id="{75749337-75B2-754A-3CB3-EB8D3E9E850F}"/>
              </a:ext>
            </a:extLst>
          </p:cNvPr>
          <p:cNvSpPr txBox="1"/>
          <p:nvPr/>
        </p:nvSpPr>
        <p:spPr bwMode="auto">
          <a:xfrm>
            <a:off x="7441815" y="2032883"/>
            <a:ext cx="3025147" cy="335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2000" kern="0" baseline="0" dirty="0" err="1">
                <a:latin typeface="+mn-lt"/>
                <a:ea typeface="+mn-ea"/>
                <a:cs typeface="+mn-cs"/>
              </a:rPr>
              <a:t>V</a:t>
            </a:r>
            <a:r>
              <a:rPr lang="en-US" sz="2000" kern="0" baseline="-25000" dirty="0" err="1">
                <a:latin typeface="+mn-lt"/>
              </a:rPr>
              <a:t>buffer</a:t>
            </a:r>
            <a:r>
              <a:rPr lang="en-US" sz="2000" kern="0" baseline="-25000" dirty="0">
                <a:latin typeface="+mn-lt"/>
              </a:rPr>
              <a:t> </a:t>
            </a:r>
            <a:r>
              <a:rPr lang="en-US" sz="1600" kern="0" dirty="0">
                <a:latin typeface="+mn-lt"/>
              </a:rPr>
              <a:t>(calibrated, ideally V</a:t>
            </a:r>
            <a:r>
              <a:rPr lang="en-US" sz="1600" kern="0" baseline="-25000" dirty="0">
                <a:latin typeface="+mn-lt"/>
              </a:rPr>
              <a:t>in</a:t>
            </a:r>
            <a:r>
              <a:rPr lang="en-US" sz="1600" kern="0" dirty="0">
                <a:latin typeface="+mn-lt"/>
              </a:rPr>
              <a:t>)</a:t>
            </a:r>
            <a:endParaRPr lang="tr-TR" sz="2000" kern="0" dirty="0">
              <a:latin typeface="+mn-lt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3F09440-D6CF-A4E1-3A33-28D6FFA601EB}"/>
              </a:ext>
            </a:extLst>
          </p:cNvPr>
          <p:cNvSpPr txBox="1"/>
          <p:nvPr/>
        </p:nvSpPr>
        <p:spPr bwMode="auto">
          <a:xfrm>
            <a:off x="1762688" y="2148547"/>
            <a:ext cx="333415" cy="234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kern="0" baseline="0" dirty="0">
                <a:latin typeface="+mn-lt"/>
                <a:ea typeface="+mn-ea"/>
                <a:cs typeface="+mn-cs"/>
              </a:rPr>
              <a:t>in</a:t>
            </a:r>
            <a:endParaRPr lang="tr-TR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DFF0B5B-3DEE-A72A-3FF2-4E909EE0F9AC}"/>
              </a:ext>
            </a:extLst>
          </p:cNvPr>
          <p:cNvSpPr txBox="1"/>
          <p:nvPr/>
        </p:nvSpPr>
        <p:spPr bwMode="auto">
          <a:xfrm>
            <a:off x="2839420" y="2134432"/>
            <a:ext cx="333415" cy="234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kern="0" baseline="0" dirty="0">
                <a:latin typeface="+mn-lt"/>
                <a:ea typeface="+mn-ea"/>
                <a:cs typeface="+mn-cs"/>
              </a:rPr>
              <a:t>out</a:t>
            </a:r>
            <a:endParaRPr lang="tr-TR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10B66DD-3C57-E705-BFD6-3BC651D56C43}"/>
              </a:ext>
            </a:extLst>
          </p:cNvPr>
          <p:cNvSpPr txBox="1"/>
          <p:nvPr/>
        </p:nvSpPr>
        <p:spPr bwMode="auto">
          <a:xfrm>
            <a:off x="735665" y="2134432"/>
            <a:ext cx="472579" cy="335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2000" kern="0" baseline="0" dirty="0">
                <a:latin typeface="+mn-lt"/>
                <a:ea typeface="+mn-ea"/>
                <a:cs typeface="+mn-cs"/>
              </a:rPr>
              <a:t>V</a:t>
            </a:r>
            <a:r>
              <a:rPr lang="en-US" sz="2000" kern="0" baseline="-25000" dirty="0">
                <a:latin typeface="+mn-lt"/>
                <a:ea typeface="+mn-ea"/>
                <a:cs typeface="+mn-cs"/>
              </a:rPr>
              <a:t>in</a:t>
            </a:r>
            <a:endParaRPr lang="tr-TR" sz="2000" kern="0" baseline="-25000" dirty="0">
              <a:latin typeface="+mn-lt"/>
              <a:ea typeface="+mn-ea"/>
              <a:cs typeface="+mn-cs"/>
            </a:endParaRPr>
          </a:p>
        </p:txBody>
      </p:sp>
      <p:cxnSp>
        <p:nvCxnSpPr>
          <p:cNvPr id="9" name="Connettore 2 6">
            <a:extLst>
              <a:ext uri="{FF2B5EF4-FFF2-40B4-BE49-F238E27FC236}">
                <a16:creationId xmlns:a16="http://schemas.microsoft.com/office/drawing/2014/main" id="{53AAD8B7-237C-14B1-FEC3-45DE8216A685}"/>
              </a:ext>
            </a:extLst>
          </p:cNvPr>
          <p:cNvCxnSpPr/>
          <p:nvPr/>
        </p:nvCxnSpPr>
        <p:spPr>
          <a:xfrm>
            <a:off x="950259" y="2253870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ttangolo 7">
            <a:extLst>
              <a:ext uri="{FF2B5EF4-FFF2-40B4-BE49-F238E27FC236}">
                <a16:creationId xmlns:a16="http://schemas.microsoft.com/office/drawing/2014/main" id="{479BE6C3-AC1B-A1F0-3561-B242BF381DB8}"/>
              </a:ext>
            </a:extLst>
          </p:cNvPr>
          <p:cNvSpPr/>
          <p:nvPr/>
        </p:nvSpPr>
        <p:spPr bwMode="auto">
          <a:xfrm>
            <a:off x="1723982" y="1802532"/>
            <a:ext cx="1383323" cy="902675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it-IT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Connettore 2 8">
            <a:extLst>
              <a:ext uri="{FF2B5EF4-FFF2-40B4-BE49-F238E27FC236}">
                <a16:creationId xmlns:a16="http://schemas.microsoft.com/office/drawing/2014/main" id="{2C73D7AB-F457-A515-A7F3-A62B82AEDE1B}"/>
              </a:ext>
            </a:extLst>
          </p:cNvPr>
          <p:cNvCxnSpPr/>
          <p:nvPr/>
        </p:nvCxnSpPr>
        <p:spPr>
          <a:xfrm>
            <a:off x="3177644" y="2253870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12845CA9-E8B8-30DA-990A-359F7D433A36}"/>
              </a:ext>
            </a:extLst>
          </p:cNvPr>
          <p:cNvSpPr/>
          <p:nvPr/>
        </p:nvSpPr>
        <p:spPr bwMode="auto">
          <a:xfrm rot="5400000">
            <a:off x="2036313" y="1943053"/>
            <a:ext cx="755867" cy="612843"/>
          </a:xfrm>
          <a:prstGeom prst="triangl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tr-TR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146148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93170D-24F7-D144-C9B6-2AC4D68CFA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DCF21DE-8B50-56C2-641B-1B5B4F2C80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the current status – Invertibility: </a:t>
            </a:r>
            <a:r>
              <a:rPr lang="en-US" dirty="0" err="1"/>
              <a:t>H</a:t>
            </a:r>
            <a:r>
              <a:rPr lang="en-US" baseline="-25000" dirty="0" err="1"/>
              <a:t>calib</a:t>
            </a:r>
            <a:r>
              <a:rPr lang="en-US" dirty="0"/>
              <a:t>(s)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2058B82-7D81-59C6-3C9B-ABE050D31DB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C46059-F0FD-5B16-4CFC-ADB03BE033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Segnaposto contenuto 2">
                <a:extLst>
                  <a:ext uri="{FF2B5EF4-FFF2-40B4-BE49-F238E27FC236}">
                    <a16:creationId xmlns:a16="http://schemas.microsoft.com/office/drawing/2014/main" id="{A73672DD-5952-4245-EB4B-7D2E4B5E4CE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35360" y="1190593"/>
                <a:ext cx="10591108" cy="5113337"/>
              </a:xfrm>
              <a:prstGeom prst="rect">
                <a:avLst/>
              </a:prstGeom>
            </p:spPr>
            <p:txBody>
              <a:bodyPr vert="horz" lIns="0" tIns="0" rIns="0" bIns="0" rtlCol="0">
                <a:noAutofit/>
              </a:bodyPr>
              <a:lstStyle>
                <a:lvl1pPr marL="252000" indent="-252000" algn="l" defTabSz="576000" rtl="0" eaLnBrk="1" fontAlgn="base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SzPct val="100000"/>
                  <a:buFont typeface="Arial" panose="020B0604020202020204" pitchFamily="34" charset="0"/>
                  <a:buChar char="‒"/>
                  <a:defRPr sz="20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4000" indent="-252000" algn="l" defTabSz="576000" rtl="0" eaLnBrk="1" fontAlgn="base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SzPct val="100000"/>
                  <a:buFont typeface="Arial" panose="020B0604020202020204" pitchFamily="34" charset="0"/>
                  <a:buChar char="‒"/>
                  <a:defRPr sz="18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56000" indent="-252000" algn="l" defTabSz="576000" rtl="0" eaLnBrk="1" fontAlgn="base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SzPct val="100000"/>
                  <a:buFont typeface="Arial" panose="020B0604020202020204" pitchFamily="34" charset="0"/>
                  <a:buChar char="‒"/>
                  <a:defRPr sz="16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08000" indent="-252000" algn="l" defTabSz="576000" rtl="0" eaLnBrk="1" fontAlgn="base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SzPct val="100000"/>
                  <a:buFont typeface="Arial" panose="020B0604020202020204" pitchFamily="34" charset="0"/>
                  <a:buChar char="‒"/>
                  <a:defRPr sz="16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260000" indent="-252000" algn="l" defTabSz="576000" rtl="0" eaLnBrk="1" fontAlgn="base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SzPct val="100000"/>
                  <a:buFont typeface="Arial" panose="020B0604020202020204" pitchFamily="34" charset="0"/>
                  <a:buChar char="‒"/>
                  <a:defRPr sz="16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260000" indent="-252000" algn="l" defTabSz="576000" rtl="0" eaLnBrk="1" fontAlgn="base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Arial" panose="020B0604020202020204" pitchFamily="34" charset="0"/>
                  <a:buChar char="‒"/>
                  <a:defRPr sz="1600" baseline="0">
                    <a:solidFill>
                      <a:schemeClr val="tx1"/>
                    </a:solidFill>
                    <a:latin typeface="+mn-lt"/>
                    <a:cs typeface="+mn-cs"/>
                  </a:defRPr>
                </a:lvl6pPr>
                <a:lvl7pPr marL="1260000" indent="-252000" algn="l" defTabSz="576000" rtl="0" eaLnBrk="1" fontAlgn="base" hangingPunct="1">
                  <a:lnSpc>
                    <a:spcPct val="12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chemeClr val="tx2"/>
                  </a:buClr>
                  <a:buFont typeface="Arial" panose="020B0604020202020204" pitchFamily="34" charset="0"/>
                  <a:buChar char="‒"/>
                  <a:defRPr sz="1600">
                    <a:solidFill>
                      <a:schemeClr val="tx1"/>
                    </a:solidFill>
                    <a:latin typeface="+mn-lt"/>
                    <a:cs typeface="+mn-cs"/>
                  </a:defRPr>
                </a:lvl7pPr>
                <a:lvl8pPr marL="1260000" indent="-252000" algn="l" defTabSz="576000" rtl="0" eaLnBrk="1" fontAlgn="base" hangingPunct="1">
                  <a:lnSpc>
                    <a:spcPct val="12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chemeClr val="tx2"/>
                  </a:buClr>
                  <a:buFont typeface="Arial" panose="020B0604020202020204" pitchFamily="34" charset="0"/>
                  <a:buChar char="‒"/>
                  <a:defRPr sz="1600">
                    <a:solidFill>
                      <a:schemeClr val="tx1"/>
                    </a:solidFill>
                    <a:latin typeface="+mn-lt"/>
                    <a:cs typeface="+mn-cs"/>
                  </a:defRPr>
                </a:lvl8pPr>
                <a:lvl9pPr marL="1260000" indent="-252000" algn="l" defTabSz="576000" rtl="0" eaLnBrk="1" fontAlgn="base" hangingPunct="1">
                  <a:lnSpc>
                    <a:spcPct val="12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chemeClr val="tx2"/>
                  </a:buClr>
                  <a:buFont typeface="Arial" panose="020B0604020202020204" pitchFamily="34" charset="0"/>
                  <a:buChar char="‒"/>
                  <a:defRPr sz="1600">
                    <a:solidFill>
                      <a:schemeClr val="tx1"/>
                    </a:solidFill>
                    <a:latin typeface="+mn-lt"/>
                    <a:cs typeface="+mn-cs"/>
                  </a:defRPr>
                </a:lvl9pPr>
              </a:lstStyle>
              <a:p>
                <a:pPr marL="0" indent="0">
                  <a:buNone/>
                </a:pPr>
                <a:r>
                  <a:rPr lang="it-IT" u="sng" kern="0" dirty="0"/>
                  <a:t>Coefficients of H</a:t>
                </a:r>
                <a:r>
                  <a:rPr lang="it-IT" u="sng" kern="0" baseline="-25000" dirty="0"/>
                  <a:t>calib</a:t>
                </a:r>
                <a:r>
                  <a:rPr lang="it-IT" u="sng" kern="0" dirty="0"/>
                  <a:t>(s), </a:t>
                </a:r>
                <a14:m>
                  <m:oMath xmlns:m="http://schemas.openxmlformats.org/officeDocument/2006/math">
                    <m:r>
                      <a:rPr lang="en-US" b="0" i="0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(</m:t>
                    </m:r>
                    <m:r>
                      <a:rPr lang="en-US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𝛾</m:t>
                    </m:r>
                    <m:r>
                      <a:rPr lang="en-US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</m:t>
                    </m:r>
                    <m:r>
                      <a:rPr lang="en-US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𝛿</m:t>
                    </m:r>
                    <m:r>
                      <a:rPr lang="en-US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it-IT" u="sng" kern="0" dirty="0"/>
                  <a:t>  </a:t>
                </a:r>
              </a:p>
              <a:p>
                <a:pPr marL="0" indent="0">
                  <a:buNone/>
                </a:pPr>
                <a:endParaRPr lang="it-IT" u="sng" kern="0" dirty="0"/>
              </a:p>
              <a:p>
                <a:pPr marL="0" indent="0">
                  <a:buNone/>
                </a:pPr>
                <a:endParaRPr lang="it-IT" u="sng" kern="0" dirty="0"/>
              </a:p>
              <a:p>
                <a:pPr marL="0" indent="0">
                  <a:buNone/>
                </a:pPr>
                <a:endParaRPr lang="it-IT" u="sng" kern="0" dirty="0"/>
              </a:p>
              <a:p>
                <a:pPr marL="0" indent="0">
                  <a:buNone/>
                </a:pPr>
                <a:endParaRPr lang="it-IT" u="sng" kern="0" dirty="0"/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kern="0" smtClean="0">
                          <a:latin typeface="Cambria Math" panose="02040503050406030204" pitchFamily="18" charset="0"/>
                        </a:rPr>
                        <m:t>𝐻</m:t>
                      </m:r>
                      <m:d>
                        <m:dPr>
                          <m:ctrlPr>
                            <a:rPr lang="en-US" b="0" i="1" kern="0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kern="0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  <m:r>
                        <a:rPr lang="en-US" b="0" i="1" kern="0" smtClean="0">
                          <a:latin typeface="Cambria Math" panose="02040503050406030204" pitchFamily="18" charset="0"/>
                        </a:rPr>
                        <m:t>⇒ </m:t>
                      </m:r>
                      <m:r>
                        <a:rPr lang="en-US" b="0" i="1" kern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𝛼</m:t>
                      </m:r>
                      <m:r>
                        <a:rPr lang="en-US" b="0" i="1" kern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. </m:t>
                      </m:r>
                      <m:sSub>
                        <m:sSubPr>
                          <m:ctrlPr>
                            <a:rPr lang="en-US" b="0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en-US" b="0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𝑛</m:t>
                          </m:r>
                        </m:sub>
                      </m:sSub>
                      <m:r>
                        <a:rPr lang="en-US" b="0" i="1" kern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 </m:t>
                      </m:r>
                      <m:r>
                        <a:rPr lang="en-US" b="0" i="1" kern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𝛽</m:t>
                      </m:r>
                      <m:r>
                        <a:rPr lang="en-US" b="0" i="1" kern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.</m:t>
                      </m:r>
                      <m:sSubSup>
                        <m:sSubSupPr>
                          <m:ctrlPr>
                            <a:rPr lang="en-US" b="0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en-US" b="0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en-US" b="0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3</m:t>
                          </m:r>
                        </m:sup>
                      </m:sSubSup>
                      <m:r>
                        <a:rPr lang="en-US" b="0" i="1" kern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b="0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en-US" b="0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𝑏𝑢𝑓𝑓𝑒𝑟</m:t>
                          </m:r>
                        </m:sub>
                      </m:sSub>
                      <m:r>
                        <a:rPr lang="en-US" b="0" i="1" kern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;</m:t>
                      </m:r>
                      <m:r>
                        <a:rPr lang="en-US" b="0" i="0" kern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                        </m:t>
                      </m:r>
                      <m:sSub>
                        <m:sSubPr>
                          <m:ctrlPr>
                            <a:rPr lang="en-US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 ker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𝐻</m:t>
                          </m:r>
                        </m:e>
                        <m:sub>
                          <m:r>
                            <a:rPr lang="en-US" i="1" ker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𝑐𝑎𝑙𝑖𝑏</m:t>
                          </m:r>
                        </m:sub>
                      </m:sSub>
                      <m:d>
                        <m:dPr>
                          <m:ctrlPr>
                            <a:rPr lang="en-US" i="1" ker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i="1" ker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  <m:r>
                        <a:rPr lang="en-US" i="1" ker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⇒</m:t>
                      </m:r>
                      <m:r>
                        <a:rPr lang="en-US" b="0" i="1" kern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b="0" i="1" kern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𝛾</m:t>
                      </m:r>
                      <m:r>
                        <a:rPr lang="en-US" b="0" i="1" kern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.</m:t>
                      </m:r>
                      <m:sSub>
                        <m:sSubPr>
                          <m:ctrlPr>
                            <a:rPr lang="en-US" b="0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en-US" b="0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𝑏𝑢𝑓𝑓𝑒𝑟</m:t>
                          </m:r>
                        </m:sub>
                      </m:sSub>
                      <m:r>
                        <a:rPr lang="en-US" b="0" i="1" kern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 </m:t>
                      </m:r>
                      <m:r>
                        <a:rPr lang="en-US" b="0" i="1" kern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𝛿</m:t>
                      </m:r>
                      <m:r>
                        <a:rPr lang="en-US" b="0" i="1" kern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.</m:t>
                      </m:r>
                      <m:sSubSup>
                        <m:sSubSupPr>
                          <m:ctrlPr>
                            <a:rPr lang="en-US" b="0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en-US" b="0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𝑏𝑢𝑓𝑓𝑒𝑟</m:t>
                          </m:r>
                        </m:sub>
                        <m:sup>
                          <m:r>
                            <a:rPr lang="en-US" b="0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3</m:t>
                          </m:r>
                        </m:sup>
                      </m:sSubSup>
                      <m:r>
                        <a:rPr lang="en-US" b="0" i="1" kern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b="0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en-US" b="0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𝑏𝑢𝑓𝑓𝑒𝑟</m:t>
                          </m:r>
                        </m:sub>
                        <m:sup>
                          <m:r>
                            <a:rPr lang="en-US" b="0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𝑐𝑎𝑙𝑖𝑏</m:t>
                          </m:r>
                        </m:sup>
                      </m:sSubSup>
                    </m:oMath>
                  </m:oMathPara>
                </a14:m>
                <a:endParaRPr lang="it-IT" u="sng" kern="0" dirty="0"/>
              </a:p>
              <a:p>
                <a:pPr marL="0" indent="0">
                  <a:buNone/>
                </a:pPr>
                <a:endParaRPr lang="en-US" b="0" i="1" kern="0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marL="0" indent="0">
                  <a:buNone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en-US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r>
                          <a:rPr lang="en-US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𝑏𝑢𝑓𝑓𝑒𝑟</m:t>
                        </m:r>
                      </m:sub>
                      <m:sup>
                        <m:r>
                          <a:rPr lang="en-US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𝑐𝑎𝑙𝑖𝑏</m:t>
                        </m:r>
                      </m:sup>
                    </m:sSubSup>
                  </m:oMath>
                </a14:m>
                <a:r>
                  <a:rPr lang="it-IT" kern="0" dirty="0"/>
                  <a:t> = </a:t>
                </a:r>
                <a14:m>
                  <m:oMath xmlns:m="http://schemas.openxmlformats.org/officeDocument/2006/math">
                    <m:r>
                      <a:rPr lang="en-US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𝛾</m:t>
                    </m:r>
                    <m:r>
                      <a:rPr lang="en-US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.</m:t>
                    </m:r>
                    <m:r>
                      <a:rPr lang="en-US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𝛼</m:t>
                    </m:r>
                    <m:r>
                      <a:rPr lang="en-US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. </m:t>
                    </m:r>
                    <m:sSub>
                      <m:sSubPr>
                        <m:ctrlP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𝑛</m:t>
                        </m:r>
                      </m:sub>
                    </m:sSub>
                    <m:r>
                      <a:rPr lang="en-US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d>
                      <m:dPr>
                        <m:ctrlPr>
                          <a:rPr lang="en-US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𝛾</m:t>
                        </m:r>
                        <m: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.</m:t>
                        </m:r>
                        <m: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𝛽</m:t>
                        </m:r>
                        <m: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+</m:t>
                        </m:r>
                        <m: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𝛿</m:t>
                        </m:r>
                        <m: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.</m:t>
                        </m:r>
                        <m:sSup>
                          <m:sSupPr>
                            <m:ctrlPr>
                              <a:rPr lang="en-US" i="1" ker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i="1" ker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𝛼</m:t>
                            </m:r>
                          </m:e>
                          <m:sup>
                            <m:r>
                              <a:rPr lang="en-US" i="1" ker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3</m:t>
                            </m:r>
                          </m:sup>
                        </m:sSup>
                      </m:e>
                    </m:d>
                    <m:r>
                      <a:rPr lang="en-US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. </m:t>
                    </m:r>
                    <m:sSubSup>
                      <m:sSubSupPr>
                        <m:ctrlP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𝑛</m:t>
                        </m:r>
                      </m:sub>
                      <m:sup>
                        <m: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3</m:t>
                        </m:r>
                      </m:sup>
                    </m:sSubSup>
                  </m:oMath>
                </a14:m>
                <a:r>
                  <a:rPr lang="it-IT" kern="0" dirty="0"/>
                  <a:t>                   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𝑏𝑢𝑓𝑓𝑒𝑟</m:t>
                        </m:r>
                      </m:sub>
                      <m:sup>
                        <m: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𝑐𝑎𝑙𝑖𝑏</m:t>
                        </m:r>
                      </m:sup>
                    </m:sSubSup>
                  </m:oMath>
                </a14:m>
                <a:r>
                  <a:rPr lang="it-IT" kern="0" dirty="0"/>
                  <a:t> =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r>
                          <a:rPr lang="en-US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𝑛</m:t>
                        </m:r>
                      </m:sub>
                    </m:sSub>
                  </m:oMath>
                </a14:m>
                <a:endParaRPr lang="it-IT" kern="0" dirty="0"/>
              </a:p>
              <a:p>
                <a:pPr marL="0" indent="0">
                  <a:buNone/>
                </a:pPr>
                <a:endParaRPr lang="it-IT" u="sng" kern="0" dirty="0"/>
              </a:p>
              <a:p>
                <a:pPr marL="0" indent="0">
                  <a:buNone/>
                </a:pPr>
                <a:r>
                  <a:rPr lang="it-IT" u="sng" kern="0" dirty="0"/>
                  <a:t>Results</a:t>
                </a:r>
              </a:p>
              <a:p>
                <a:pPr marL="0" indent="0">
                  <a:buNone/>
                </a:pPr>
                <a14:m>
                  <m:oMath xmlns:m="http://schemas.openxmlformats.org/officeDocument/2006/math">
                    <m:r>
                      <a:rPr lang="en-US" sz="240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𝛾</m:t>
                    </m:r>
                    <m:r>
                      <a:rPr lang="en-US" sz="240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.</m:t>
                    </m:r>
                    <m:r>
                      <a:rPr lang="en-US" sz="240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𝛼</m:t>
                    </m:r>
                    <m:r>
                      <a:rPr lang="en-US" sz="2400" b="0" i="0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1⇒</m:t>
                    </m:r>
                    <m:r>
                      <a:rPr lang="en-US" sz="2400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𝛾</m:t>
                    </m:r>
                    <m:r>
                      <a:rPr lang="en-US" sz="2400" b="0" i="0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US" sz="24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2400" b="0" i="0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2400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𝛼</m:t>
                        </m:r>
                      </m:den>
                    </m:f>
                    <m:r>
                      <a:rPr lang="en-US" sz="2400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it-IT" sz="1800" kern="0" dirty="0"/>
                  <a:t>               </a:t>
                </a:r>
                <a14:m>
                  <m:oMath xmlns:m="http://schemas.openxmlformats.org/officeDocument/2006/math">
                    <m:r>
                      <a:rPr lang="en-US" sz="240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𝛾</m:t>
                    </m:r>
                    <m:r>
                      <a:rPr lang="en-US" sz="240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.</m:t>
                    </m:r>
                    <m:r>
                      <a:rPr lang="en-US" sz="240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𝛽</m:t>
                    </m:r>
                    <m:r>
                      <a:rPr lang="en-US" sz="240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r>
                      <a:rPr lang="en-US" sz="240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𝛿</m:t>
                    </m:r>
                    <m:r>
                      <a:rPr lang="en-US" sz="240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.</m:t>
                    </m:r>
                    <m:sSup>
                      <m:sSupPr>
                        <m:ctrlPr>
                          <a:rPr lang="en-US" sz="2400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2400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𝛼</m:t>
                        </m:r>
                      </m:e>
                      <m:sup>
                        <m:r>
                          <a:rPr lang="en-US" sz="2400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3</m:t>
                        </m:r>
                      </m:sup>
                    </m:sSup>
                    <m:r>
                      <a:rPr lang="en-US" sz="2400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0⇒</m:t>
                    </m:r>
                    <m:r>
                      <a:rPr lang="en-US" sz="2400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𝛿</m:t>
                    </m:r>
                    <m:r>
                      <a:rPr lang="en-US" sz="2400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−</m:t>
                    </m:r>
                    <m:f>
                      <m:fPr>
                        <m:ctrlPr>
                          <a:rPr lang="en-US" sz="240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2400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𝛾</m:t>
                        </m:r>
                        <m:r>
                          <a:rPr lang="en-US" sz="2400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.</m:t>
                        </m:r>
                        <m:r>
                          <a:rPr lang="en-US" sz="240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𝛽</m:t>
                        </m:r>
                      </m:num>
                      <m:den>
                        <m:sSup>
                          <m:sSupPr>
                            <m:ctrlPr>
                              <a:rPr lang="en-US" sz="2400" i="1" ker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2400" i="1" ker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𝛼</m:t>
                            </m:r>
                          </m:e>
                          <m:sup>
                            <m:r>
                              <a:rPr lang="en-US" sz="2400" i="1" ker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3</m:t>
                            </m:r>
                          </m:sup>
                        </m:sSup>
                      </m:den>
                    </m:f>
                    <m:r>
                      <a:rPr lang="en-US" sz="2400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−</m:t>
                    </m:r>
                    <m:f>
                      <m:fPr>
                        <m:ctrlPr>
                          <a:rPr lang="en-US" sz="24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2400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𝛽</m:t>
                        </m:r>
                      </m:num>
                      <m:den>
                        <m:sSup>
                          <m:sSupPr>
                            <m:ctrlPr>
                              <a:rPr lang="en-US" sz="2400" i="1" ker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2400" i="1" ker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𝛼</m:t>
                            </m:r>
                          </m:e>
                          <m:sup>
                            <m:r>
                              <a:rPr lang="en-US" sz="24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4</m:t>
                            </m:r>
                          </m:sup>
                        </m:sSup>
                      </m:den>
                    </m:f>
                  </m:oMath>
                </a14:m>
                <a:endParaRPr lang="it-IT" kern="0" dirty="0"/>
              </a:p>
              <a:p>
                <a:pPr marL="0" indent="0">
                  <a:buNone/>
                </a:pPr>
                <a:endParaRPr lang="it-IT" u="sng" kern="0" dirty="0"/>
              </a:p>
              <a:p>
                <a:pPr marL="0" indent="0">
                  <a:buNone/>
                </a:pPr>
                <a:endParaRPr lang="it-IT" u="sng" kern="0" dirty="0"/>
              </a:p>
              <a:p>
                <a:pPr marL="0" indent="0">
                  <a:buNone/>
                </a:pPr>
                <a:endParaRPr lang="it-IT" u="sng" kern="0" dirty="0"/>
              </a:p>
              <a:p>
                <a:pPr marL="0" indent="0">
                  <a:buNone/>
                </a:pPr>
                <a:endParaRPr lang="it-IT" u="sng" kern="0" dirty="0"/>
              </a:p>
              <a:p>
                <a:pPr marL="0" indent="0">
                  <a:buFont typeface="Arial" panose="020B0604020202020204" pitchFamily="34" charset="0"/>
                  <a:buNone/>
                </a:pPr>
                <a:endParaRPr lang="it-IT" u="sng" kern="0" dirty="0"/>
              </a:p>
              <a:p>
                <a:pPr marL="0" indent="0">
                  <a:buFont typeface="Arial" panose="020B0604020202020204" pitchFamily="34" charset="0"/>
                  <a:buNone/>
                </a:pPr>
                <a:endParaRPr lang="it-IT" u="sng" kern="0" dirty="0"/>
              </a:p>
              <a:p>
                <a:pPr marL="0" indent="0">
                  <a:buFont typeface="Arial" panose="020B0604020202020204" pitchFamily="34" charset="0"/>
                  <a:buNone/>
                </a:pPr>
                <a:endParaRPr lang="it-IT" u="sng" kern="0" dirty="0"/>
              </a:p>
              <a:p>
                <a:pPr marL="0" indent="0">
                  <a:buFont typeface="Arial" panose="020B0604020202020204" pitchFamily="34" charset="0"/>
                  <a:buNone/>
                </a:pPr>
                <a:endParaRPr lang="it-IT" u="sng" kern="0" dirty="0"/>
              </a:p>
              <a:p>
                <a:pPr marL="0" indent="0">
                  <a:buFont typeface="Arial" panose="020B0604020202020204" pitchFamily="34" charset="0"/>
                  <a:buNone/>
                </a:pPr>
                <a:r>
                  <a:rPr lang="it-IT" u="sng" kern="0" dirty="0"/>
                  <a:t> </a:t>
                </a:r>
                <a:endParaRPr lang="it-IT" kern="0" dirty="0"/>
              </a:p>
              <a:p>
                <a:pPr marL="0" indent="0">
                  <a:buFont typeface="Arial" panose="020B0604020202020204" pitchFamily="34" charset="0"/>
                  <a:buNone/>
                </a:pPr>
                <a:endParaRPr lang="it-IT" i="1" kern="0" dirty="0"/>
              </a:p>
              <a:p>
                <a:pPr marL="0" indent="0">
                  <a:buNone/>
                </a:pPr>
                <a:endParaRPr lang="it-IT" kern="0" dirty="0"/>
              </a:p>
              <a:p>
                <a:pPr marL="0" indent="0">
                  <a:buFont typeface="Arial" panose="020B0604020202020204" pitchFamily="34" charset="0"/>
                  <a:buNone/>
                </a:pPr>
                <a:endParaRPr lang="it-IT" kern="0" dirty="0"/>
              </a:p>
              <a:p>
                <a:pPr marL="0" indent="0">
                  <a:buFont typeface="Arial" panose="020B0604020202020204" pitchFamily="34" charset="0"/>
                  <a:buNone/>
                </a:pPr>
                <a:r>
                  <a:rPr lang="it-IT" kern="0" dirty="0"/>
                  <a:t>	  	</a:t>
                </a:r>
                <a:endParaRPr lang="it-IT" kern="0" baseline="-25000" dirty="0"/>
              </a:p>
            </p:txBody>
          </p:sp>
        </mc:Choice>
        <mc:Fallback xmlns="">
          <p:sp>
            <p:nvSpPr>
              <p:cNvPr id="2" name="Segnaposto contenuto 2">
                <a:extLst>
                  <a:ext uri="{FF2B5EF4-FFF2-40B4-BE49-F238E27FC236}">
                    <a16:creationId xmlns:a16="http://schemas.microsoft.com/office/drawing/2014/main" id="{A73672DD-5952-4245-EB4B-7D2E4B5E4CE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5360" y="1190593"/>
                <a:ext cx="10591108" cy="5113337"/>
              </a:xfrm>
              <a:prstGeom prst="rect">
                <a:avLst/>
              </a:prstGeom>
              <a:blipFill>
                <a:blip r:embed="rId3"/>
                <a:stretch>
                  <a:fillRect l="-1439" t="-954"/>
                </a:stretch>
              </a:blipFill>
            </p:spPr>
            <p:txBody>
              <a:bodyPr/>
              <a:lstStyle/>
              <a:p>
                <a:r>
                  <a:rPr lang="tr-T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1" name="TextBox 50">
            <a:extLst>
              <a:ext uri="{FF2B5EF4-FFF2-40B4-BE49-F238E27FC236}">
                <a16:creationId xmlns:a16="http://schemas.microsoft.com/office/drawing/2014/main" id="{40183D39-629F-611D-11AF-5B00A7A084F4}"/>
              </a:ext>
            </a:extLst>
          </p:cNvPr>
          <p:cNvSpPr txBox="1"/>
          <p:nvPr/>
        </p:nvSpPr>
        <p:spPr bwMode="auto">
          <a:xfrm>
            <a:off x="3890067" y="2095834"/>
            <a:ext cx="703384" cy="335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2000" kern="0" baseline="0" dirty="0" err="1">
                <a:latin typeface="+mn-lt"/>
                <a:ea typeface="+mn-ea"/>
                <a:cs typeface="+mn-cs"/>
              </a:rPr>
              <a:t>V</a:t>
            </a:r>
            <a:r>
              <a:rPr lang="en-US" sz="2000" kern="0" baseline="-25000" dirty="0" err="1">
                <a:latin typeface="+mn-lt"/>
              </a:rPr>
              <a:t>buffer</a:t>
            </a:r>
            <a:endParaRPr lang="tr-TR" sz="2000" kern="0" baseline="-25000" dirty="0">
              <a:latin typeface="+mn-lt"/>
              <a:ea typeface="+mn-ea"/>
              <a:cs typeface="+mn-cs"/>
            </a:endParaRPr>
          </a:p>
        </p:txBody>
      </p:sp>
      <p:cxnSp>
        <p:nvCxnSpPr>
          <p:cNvPr id="52" name="Connettore 2 14">
            <a:extLst>
              <a:ext uri="{FF2B5EF4-FFF2-40B4-BE49-F238E27FC236}">
                <a16:creationId xmlns:a16="http://schemas.microsoft.com/office/drawing/2014/main" id="{E767FE16-5160-D253-C542-C4A304B50850}"/>
              </a:ext>
            </a:extLst>
          </p:cNvPr>
          <p:cNvCxnSpPr/>
          <p:nvPr/>
        </p:nvCxnSpPr>
        <p:spPr>
          <a:xfrm>
            <a:off x="4593451" y="2253870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ttangolo 13">
            <a:extLst>
              <a:ext uri="{FF2B5EF4-FFF2-40B4-BE49-F238E27FC236}">
                <a16:creationId xmlns:a16="http://schemas.microsoft.com/office/drawing/2014/main" id="{5EE745A8-4223-310D-11F6-342DBB7B7151}"/>
              </a:ext>
            </a:extLst>
          </p:cNvPr>
          <p:cNvSpPr/>
          <p:nvPr/>
        </p:nvSpPr>
        <p:spPr bwMode="auto">
          <a:xfrm>
            <a:off x="5308557" y="1721206"/>
            <a:ext cx="1383323" cy="984002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it-IT" sz="1600" dirty="0">
                <a:solidFill>
                  <a:schemeClr val="tx1"/>
                </a:solidFill>
              </a:rPr>
              <a:t>H</a:t>
            </a:r>
            <a:r>
              <a:rPr lang="it-IT" sz="1600" baseline="-25000" dirty="0">
                <a:solidFill>
                  <a:schemeClr val="tx1"/>
                </a:solidFill>
              </a:rPr>
              <a:t>calib</a:t>
            </a:r>
            <a:r>
              <a:rPr lang="it-IT" sz="1600" dirty="0">
                <a:solidFill>
                  <a:schemeClr val="tx1"/>
                </a:solidFill>
              </a:rPr>
              <a:t>(s)</a:t>
            </a:r>
            <a:endParaRPr lang="it-IT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AFBA626B-7312-F496-46F9-C3175C5A5565}"/>
              </a:ext>
            </a:extLst>
          </p:cNvPr>
          <p:cNvSpPr txBox="1"/>
          <p:nvPr/>
        </p:nvSpPr>
        <p:spPr bwMode="auto">
          <a:xfrm>
            <a:off x="5355865" y="2136498"/>
            <a:ext cx="333415" cy="234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kern="0" baseline="0" dirty="0">
                <a:latin typeface="+mn-lt"/>
                <a:ea typeface="+mn-ea"/>
                <a:cs typeface="+mn-cs"/>
              </a:rPr>
              <a:t>in</a:t>
            </a:r>
            <a:endParaRPr lang="tr-TR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3AE7FEF1-C017-8E2A-5F3E-48C601925952}"/>
              </a:ext>
            </a:extLst>
          </p:cNvPr>
          <p:cNvSpPr txBox="1"/>
          <p:nvPr/>
        </p:nvSpPr>
        <p:spPr bwMode="auto">
          <a:xfrm>
            <a:off x="6406512" y="2133552"/>
            <a:ext cx="333415" cy="234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kern="0" baseline="0" dirty="0">
                <a:latin typeface="+mn-lt"/>
                <a:ea typeface="+mn-ea"/>
                <a:cs typeface="+mn-cs"/>
              </a:rPr>
              <a:t>out</a:t>
            </a:r>
            <a:endParaRPr lang="tr-TR" kern="0" baseline="0" dirty="0">
              <a:latin typeface="+mn-lt"/>
              <a:ea typeface="+mn-ea"/>
              <a:cs typeface="+mn-cs"/>
            </a:endParaRPr>
          </a:p>
        </p:txBody>
      </p:sp>
      <p:cxnSp>
        <p:nvCxnSpPr>
          <p:cNvPr id="57" name="Connettore 2 14">
            <a:extLst>
              <a:ext uri="{FF2B5EF4-FFF2-40B4-BE49-F238E27FC236}">
                <a16:creationId xmlns:a16="http://schemas.microsoft.com/office/drawing/2014/main" id="{555B41A0-6FDA-CDB2-1FD1-E876A9B5A85A}"/>
              </a:ext>
            </a:extLst>
          </p:cNvPr>
          <p:cNvCxnSpPr/>
          <p:nvPr/>
        </p:nvCxnSpPr>
        <p:spPr>
          <a:xfrm>
            <a:off x="6691880" y="2264190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>
            <a:extLst>
              <a:ext uri="{FF2B5EF4-FFF2-40B4-BE49-F238E27FC236}">
                <a16:creationId xmlns:a16="http://schemas.microsoft.com/office/drawing/2014/main" id="{26AA4DFD-E41D-6370-2A3F-A1BE5D5F2955}"/>
              </a:ext>
            </a:extLst>
          </p:cNvPr>
          <p:cNvSpPr txBox="1"/>
          <p:nvPr/>
        </p:nvSpPr>
        <p:spPr bwMode="auto">
          <a:xfrm>
            <a:off x="7441815" y="2032883"/>
            <a:ext cx="3025147" cy="335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2000" kern="0" baseline="0" dirty="0" err="1">
                <a:latin typeface="+mn-lt"/>
                <a:ea typeface="+mn-ea"/>
                <a:cs typeface="+mn-cs"/>
              </a:rPr>
              <a:t>V</a:t>
            </a:r>
            <a:r>
              <a:rPr lang="en-US" sz="2000" kern="0" baseline="-25000" dirty="0" err="1">
                <a:latin typeface="+mn-lt"/>
              </a:rPr>
              <a:t>buffer</a:t>
            </a:r>
            <a:r>
              <a:rPr lang="en-US" sz="2000" kern="0" baseline="-25000" dirty="0">
                <a:latin typeface="+mn-lt"/>
              </a:rPr>
              <a:t> </a:t>
            </a:r>
            <a:r>
              <a:rPr lang="en-US" sz="1600" kern="0" dirty="0">
                <a:latin typeface="+mn-lt"/>
              </a:rPr>
              <a:t>(calibrated, ideally V</a:t>
            </a:r>
            <a:r>
              <a:rPr lang="en-US" sz="1600" kern="0" baseline="-25000" dirty="0">
                <a:latin typeface="+mn-lt"/>
              </a:rPr>
              <a:t>in</a:t>
            </a:r>
            <a:r>
              <a:rPr lang="en-US" sz="1600" kern="0" dirty="0">
                <a:latin typeface="+mn-lt"/>
              </a:rPr>
              <a:t>)</a:t>
            </a:r>
            <a:endParaRPr lang="tr-TR" sz="2000" kern="0" dirty="0">
              <a:latin typeface="+mn-lt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A69E9B2-753A-EFBF-013B-53CAFDED2D85}"/>
              </a:ext>
            </a:extLst>
          </p:cNvPr>
          <p:cNvSpPr txBox="1"/>
          <p:nvPr/>
        </p:nvSpPr>
        <p:spPr bwMode="auto">
          <a:xfrm>
            <a:off x="1762688" y="2148547"/>
            <a:ext cx="333415" cy="234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kern="0" baseline="0" dirty="0">
                <a:latin typeface="+mn-lt"/>
                <a:ea typeface="+mn-ea"/>
                <a:cs typeface="+mn-cs"/>
              </a:rPr>
              <a:t>in</a:t>
            </a:r>
            <a:endParaRPr lang="tr-TR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F6C2BB5-EA89-B649-724C-3F4BA80C423B}"/>
              </a:ext>
            </a:extLst>
          </p:cNvPr>
          <p:cNvSpPr txBox="1"/>
          <p:nvPr/>
        </p:nvSpPr>
        <p:spPr bwMode="auto">
          <a:xfrm>
            <a:off x="2839420" y="2134432"/>
            <a:ext cx="333415" cy="234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kern="0" baseline="0" dirty="0">
                <a:latin typeface="+mn-lt"/>
                <a:ea typeface="+mn-ea"/>
                <a:cs typeface="+mn-cs"/>
              </a:rPr>
              <a:t>out</a:t>
            </a:r>
            <a:endParaRPr lang="tr-TR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2294506-AD77-AB00-00D2-CA56FC962550}"/>
              </a:ext>
            </a:extLst>
          </p:cNvPr>
          <p:cNvSpPr txBox="1"/>
          <p:nvPr/>
        </p:nvSpPr>
        <p:spPr bwMode="auto">
          <a:xfrm>
            <a:off x="735665" y="2134432"/>
            <a:ext cx="472579" cy="335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2000" kern="0" baseline="0" dirty="0">
                <a:latin typeface="+mn-lt"/>
                <a:ea typeface="+mn-ea"/>
                <a:cs typeface="+mn-cs"/>
              </a:rPr>
              <a:t>V</a:t>
            </a:r>
            <a:r>
              <a:rPr lang="en-US" sz="2000" kern="0" baseline="-25000" dirty="0">
                <a:latin typeface="+mn-lt"/>
                <a:ea typeface="+mn-ea"/>
                <a:cs typeface="+mn-cs"/>
              </a:rPr>
              <a:t>in</a:t>
            </a:r>
            <a:endParaRPr lang="tr-TR" sz="2000" kern="0" baseline="-25000" dirty="0">
              <a:latin typeface="+mn-lt"/>
              <a:ea typeface="+mn-ea"/>
              <a:cs typeface="+mn-cs"/>
            </a:endParaRPr>
          </a:p>
        </p:txBody>
      </p:sp>
      <p:cxnSp>
        <p:nvCxnSpPr>
          <p:cNvPr id="10" name="Connettore 2 6">
            <a:extLst>
              <a:ext uri="{FF2B5EF4-FFF2-40B4-BE49-F238E27FC236}">
                <a16:creationId xmlns:a16="http://schemas.microsoft.com/office/drawing/2014/main" id="{6FD55A8D-8AED-B45D-D324-04F550840E45}"/>
              </a:ext>
            </a:extLst>
          </p:cNvPr>
          <p:cNvCxnSpPr/>
          <p:nvPr/>
        </p:nvCxnSpPr>
        <p:spPr>
          <a:xfrm>
            <a:off x="950259" y="2253870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ttangolo 7">
            <a:extLst>
              <a:ext uri="{FF2B5EF4-FFF2-40B4-BE49-F238E27FC236}">
                <a16:creationId xmlns:a16="http://schemas.microsoft.com/office/drawing/2014/main" id="{955820B5-681C-2064-61FD-E5112A7818CE}"/>
              </a:ext>
            </a:extLst>
          </p:cNvPr>
          <p:cNvSpPr/>
          <p:nvPr/>
        </p:nvSpPr>
        <p:spPr bwMode="auto">
          <a:xfrm>
            <a:off x="1723982" y="1802532"/>
            <a:ext cx="1383323" cy="902675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it-IT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" name="Connettore 2 8">
            <a:extLst>
              <a:ext uri="{FF2B5EF4-FFF2-40B4-BE49-F238E27FC236}">
                <a16:creationId xmlns:a16="http://schemas.microsoft.com/office/drawing/2014/main" id="{94841CAC-57B3-71BF-4F6A-308EA30D486E}"/>
              </a:ext>
            </a:extLst>
          </p:cNvPr>
          <p:cNvCxnSpPr/>
          <p:nvPr/>
        </p:nvCxnSpPr>
        <p:spPr>
          <a:xfrm>
            <a:off x="3177644" y="2253870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Isosceles Triangle 12">
            <a:extLst>
              <a:ext uri="{FF2B5EF4-FFF2-40B4-BE49-F238E27FC236}">
                <a16:creationId xmlns:a16="http://schemas.microsoft.com/office/drawing/2014/main" id="{33F7942D-15FB-3442-17D6-E17F6291EE28}"/>
              </a:ext>
            </a:extLst>
          </p:cNvPr>
          <p:cNvSpPr/>
          <p:nvPr/>
        </p:nvSpPr>
        <p:spPr bwMode="auto">
          <a:xfrm rot="5400000">
            <a:off x="2036313" y="1943053"/>
            <a:ext cx="755867" cy="612843"/>
          </a:xfrm>
          <a:prstGeom prst="triangl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tr-TR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680657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0F7869-6885-4764-BC2A-EEA50D4729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ADA1D37-2629-ED52-7026-F9A080B825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250000"/>
              </a:lnSpc>
            </a:pPr>
            <a:r>
              <a:rPr lang="en-US" dirty="0"/>
              <a:t>Plans for the next week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5EA2D6-AA58-9CF6-4C00-B074DB58E1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2BC4D0F-4BE5-27FC-8DCB-2F3CBCC183F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216B05E-B5E4-FF76-7F06-40FA0329814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Cont. to work on validity of invertibility of the buffer</a:t>
            </a:r>
          </a:p>
          <a:p>
            <a:r>
              <a:rPr lang="en-US" dirty="0"/>
              <a:t>Final exams during the second week of June :(</a:t>
            </a:r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202418770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51358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AC29BDC-7CB8-266E-07CF-D9D5D9169AC3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334800" y="1268414"/>
            <a:ext cx="11520000" cy="5113337"/>
          </a:xfrm>
        </p:spPr>
        <p:txBody>
          <a:bodyPr/>
          <a:lstStyle/>
          <a:p>
            <a:pPr>
              <a:lnSpc>
                <a:spcPct val="250000"/>
              </a:lnSpc>
            </a:pPr>
            <a:r>
              <a:rPr lang="en-US" dirty="0"/>
              <a:t>What is done</a:t>
            </a:r>
          </a:p>
          <a:p>
            <a:pPr lvl="1">
              <a:lnSpc>
                <a:spcPct val="250000"/>
              </a:lnSpc>
            </a:pPr>
            <a:r>
              <a:rPr lang="en-US" dirty="0"/>
              <a:t>Tutorials, Dynamic Calibration of the Buffer</a:t>
            </a:r>
          </a:p>
          <a:p>
            <a:pPr>
              <a:lnSpc>
                <a:spcPct val="250000"/>
              </a:lnSpc>
            </a:pPr>
            <a:r>
              <a:rPr lang="en-US" dirty="0"/>
              <a:t>What is the current status</a:t>
            </a:r>
          </a:p>
          <a:p>
            <a:pPr lvl="1">
              <a:lnSpc>
                <a:spcPct val="250000"/>
              </a:lnSpc>
            </a:pPr>
            <a:r>
              <a:rPr lang="en-US" dirty="0"/>
              <a:t>Invertibility</a:t>
            </a:r>
          </a:p>
          <a:p>
            <a:pPr>
              <a:lnSpc>
                <a:spcPct val="250000"/>
              </a:lnSpc>
            </a:pPr>
            <a:r>
              <a:rPr lang="en-US" dirty="0"/>
              <a:t>Plans for the next week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0D17616-C6F6-5E72-B3B8-B8737DA3DB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ine</a:t>
            </a:r>
          </a:p>
        </p:txBody>
      </p:sp>
    </p:spTree>
    <p:extLst>
      <p:ext uri="{BB962C8B-B14F-4D97-AF65-F5344CB8AC3E}">
        <p14:creationId xmlns:p14="http://schemas.microsoft.com/office/powerpoint/2010/main" val="36012962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305BB04-765F-64F5-5C21-9E446AA763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done - Tutorial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EFB08C-BE7C-479B-70C2-43EB445818C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412598-8366-A80D-EF0E-FD251CE86DB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F08127E2-11A3-6033-1925-C0879852E81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it-IT" dirty="0"/>
              <a:t>Virtuoso</a:t>
            </a:r>
          </a:p>
          <a:p>
            <a:pPr lvl="1"/>
            <a:r>
              <a:rPr lang="it-IT" dirty="0"/>
              <a:t>Ring Oscillator</a:t>
            </a:r>
            <a:br>
              <a:rPr lang="it-IT" dirty="0"/>
            </a:br>
            <a:endParaRPr lang="it-IT" dirty="0"/>
          </a:p>
          <a:p>
            <a:r>
              <a:rPr lang="it-IT" dirty="0"/>
              <a:t>MATLAB</a:t>
            </a:r>
          </a:p>
          <a:p>
            <a:pPr lvl="1"/>
            <a:r>
              <a:rPr lang="it-IT" dirty="0"/>
              <a:t>SARADC</a:t>
            </a:r>
          </a:p>
          <a:p>
            <a:endParaRPr lang="it-IT" dirty="0"/>
          </a:p>
          <a:p>
            <a:r>
              <a:rPr lang="it-IT" dirty="0"/>
              <a:t>VHDL</a:t>
            </a:r>
          </a:p>
          <a:p>
            <a:pPr lvl="1"/>
            <a:r>
              <a:rPr lang="it-IT" dirty="0"/>
              <a:t>SARADC</a:t>
            </a:r>
          </a:p>
          <a:p>
            <a:pPr lvl="1"/>
            <a:r>
              <a:rPr lang="it-IT" dirty="0"/>
              <a:t>SARADC (in a modular way)</a:t>
            </a:r>
          </a:p>
          <a:p>
            <a:pPr lvl="1"/>
            <a:r>
              <a:rPr lang="it-IT" dirty="0"/>
              <a:t>A simple bash script (</a:t>
            </a:r>
            <a:r>
              <a:rPr lang="it-IT" i="1" dirty="0"/>
              <a:t>list.f</a:t>
            </a:r>
            <a:r>
              <a:rPr lang="it-IT" dirty="0"/>
              <a:t> and </a:t>
            </a:r>
            <a:r>
              <a:rPr lang="it-IT" i="1" dirty="0"/>
              <a:t>cds.lib</a:t>
            </a:r>
            <a:r>
              <a:rPr lang="it-IT" dirty="0"/>
              <a:t>)</a:t>
            </a:r>
          </a:p>
          <a:p>
            <a:endParaRPr lang="it-IT" dirty="0"/>
          </a:p>
          <a:p>
            <a:r>
              <a:rPr lang="it-IT" dirty="0"/>
              <a:t>Papers</a:t>
            </a:r>
          </a:p>
        </p:txBody>
      </p:sp>
    </p:spTree>
    <p:extLst>
      <p:ext uri="{BB962C8B-B14F-4D97-AF65-F5344CB8AC3E}">
        <p14:creationId xmlns:p14="http://schemas.microsoft.com/office/powerpoint/2010/main" val="27503873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B98E5F-D0F3-D1C8-A504-C491C4F51E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164DD87-6A65-D3A2-4B66-39961AE0D5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done – Dynamic Calibration : Recap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7EA11C-398D-CD93-F173-2EA7F738424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62B119-FC65-C68A-B625-7DBDB3BA4EC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7" name="Segnaposto contenuto 2">
            <a:extLst>
              <a:ext uri="{FF2B5EF4-FFF2-40B4-BE49-F238E27FC236}">
                <a16:creationId xmlns:a16="http://schemas.microsoft.com/office/drawing/2014/main" id="{92378E8B-926D-A94C-F38A-387F8DAD739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35360" y="1190593"/>
            <a:ext cx="10591108" cy="5113337"/>
          </a:xfrm>
        </p:spPr>
        <p:txBody>
          <a:bodyPr/>
          <a:lstStyle/>
          <a:p>
            <a:pPr marL="0" indent="0">
              <a:buNone/>
            </a:pPr>
            <a:r>
              <a:rPr lang="it-IT" u="sng" dirty="0"/>
              <a:t>Virtuoso</a:t>
            </a:r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r>
              <a:rPr lang="it-IT" dirty="0"/>
              <a:t>V</a:t>
            </a:r>
            <a:r>
              <a:rPr lang="it-IT" baseline="-25000" dirty="0"/>
              <a:t>in</a:t>
            </a:r>
            <a:r>
              <a:rPr lang="it-IT" dirty="0"/>
              <a:t> 						V</a:t>
            </a:r>
            <a:r>
              <a:rPr lang="it-IT" baseline="-25000" dirty="0"/>
              <a:t>buffer					       </a:t>
            </a:r>
            <a:r>
              <a:rPr lang="it-IT" strike="sngStrike" dirty="0"/>
              <a:t>D</a:t>
            </a:r>
            <a:r>
              <a:rPr lang="it-IT" strike="sngStrike" baseline="-25000" dirty="0"/>
              <a:t>out</a:t>
            </a:r>
            <a:endParaRPr lang="it-IT" strike="sngStrike" dirty="0"/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endParaRPr lang="it-IT" u="sng" dirty="0"/>
          </a:p>
          <a:p>
            <a:pPr marL="0" indent="0">
              <a:buNone/>
            </a:pPr>
            <a:r>
              <a:rPr lang="it-IT" u="sng" dirty="0"/>
              <a:t>Digital </a:t>
            </a:r>
            <a:r>
              <a:rPr lang="it-IT" u="sng" dirty="0" err="1"/>
              <a:t>calibration</a:t>
            </a:r>
            <a:r>
              <a:rPr lang="it-IT" u="sng" dirty="0"/>
              <a:t> </a:t>
            </a:r>
            <a:endParaRPr lang="it-IT" dirty="0"/>
          </a:p>
          <a:p>
            <a:pPr marL="0" indent="0">
              <a:buNone/>
            </a:pPr>
            <a:r>
              <a:rPr lang="it-IT" dirty="0"/>
              <a:t>V</a:t>
            </a:r>
            <a:r>
              <a:rPr lang="it-IT" baseline="-25000" dirty="0"/>
              <a:t>buffer</a:t>
            </a:r>
          </a:p>
          <a:p>
            <a:pPr marL="0" indent="0">
              <a:buNone/>
            </a:pPr>
            <a:r>
              <a:rPr lang="it-IT" dirty="0"/>
              <a:t>						h</a:t>
            </a:r>
            <a:r>
              <a:rPr lang="it-IT" baseline="-25000" dirty="0"/>
              <a:t>i</a:t>
            </a:r>
            <a:r>
              <a:rPr lang="it-IT" dirty="0"/>
              <a:t>(j) </a:t>
            </a:r>
            <a:r>
              <a:rPr lang="it-IT" sz="1600" dirty="0"/>
              <a:t>[coefficients of the Volterra series miming the behavior fo the buffer]</a:t>
            </a:r>
            <a:br>
              <a:rPr lang="it-IT" dirty="0"/>
            </a:br>
            <a:r>
              <a:rPr lang="it-IT" dirty="0"/>
              <a:t>V</a:t>
            </a:r>
            <a:r>
              <a:rPr lang="it-IT" baseline="-25000" dirty="0"/>
              <a:t>in</a:t>
            </a:r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r>
              <a:rPr lang="it-IT" dirty="0"/>
              <a:t>h</a:t>
            </a:r>
            <a:r>
              <a:rPr lang="it-IT" baseline="-25000" dirty="0"/>
              <a:t>i</a:t>
            </a:r>
            <a:r>
              <a:rPr lang="it-IT" dirty="0"/>
              <a:t>(j) 		  	</a:t>
            </a:r>
            <a:br>
              <a:rPr lang="it-IT" dirty="0"/>
            </a:br>
            <a:r>
              <a:rPr lang="it-IT" sz="1400" dirty="0"/>
              <a:t>	</a:t>
            </a:r>
            <a:r>
              <a:rPr lang="it-IT" dirty="0"/>
              <a:t>						     V</a:t>
            </a:r>
            <a:r>
              <a:rPr lang="it-IT" baseline="-25000" dirty="0"/>
              <a:t>buffer,cal </a:t>
            </a:r>
            <a:r>
              <a:rPr lang="it-IT" dirty="0"/>
              <a:t>(ideally, V</a:t>
            </a:r>
            <a:r>
              <a:rPr lang="it-IT" baseline="-25000" dirty="0"/>
              <a:t>in</a:t>
            </a:r>
            <a:r>
              <a:rPr lang="it-IT" dirty="0"/>
              <a:t>)</a:t>
            </a:r>
          </a:p>
          <a:p>
            <a:pPr marL="0" indent="0">
              <a:buNone/>
            </a:pPr>
            <a:r>
              <a:rPr lang="it-IT" dirty="0"/>
              <a:t>V</a:t>
            </a:r>
            <a:r>
              <a:rPr lang="it-IT" baseline="-25000" dirty="0"/>
              <a:t>buffer</a:t>
            </a:r>
          </a:p>
          <a:p>
            <a:pPr marL="0" indent="0">
              <a:buNone/>
            </a:pPr>
            <a:endParaRPr lang="it-IT" baseline="-25000" dirty="0"/>
          </a:p>
        </p:txBody>
      </p:sp>
      <p:cxnSp>
        <p:nvCxnSpPr>
          <p:cNvPr id="8" name="Connettore 2 6">
            <a:extLst>
              <a:ext uri="{FF2B5EF4-FFF2-40B4-BE49-F238E27FC236}">
                <a16:creationId xmlns:a16="http://schemas.microsoft.com/office/drawing/2014/main" id="{F61E5F83-4596-E8A0-19B8-0785E8402D08}"/>
              </a:ext>
            </a:extLst>
          </p:cNvPr>
          <p:cNvCxnSpPr/>
          <p:nvPr/>
        </p:nvCxnSpPr>
        <p:spPr>
          <a:xfrm>
            <a:off x="739114" y="2114394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ttangolo 7">
            <a:extLst>
              <a:ext uri="{FF2B5EF4-FFF2-40B4-BE49-F238E27FC236}">
                <a16:creationId xmlns:a16="http://schemas.microsoft.com/office/drawing/2014/main" id="{7ABC5632-4B9D-8513-8B2A-DE80E5BBF38A}"/>
              </a:ext>
            </a:extLst>
          </p:cNvPr>
          <p:cNvSpPr/>
          <p:nvPr/>
        </p:nvSpPr>
        <p:spPr bwMode="auto">
          <a:xfrm>
            <a:off x="1512837" y="1663056"/>
            <a:ext cx="1383323" cy="902675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it-IT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0" name="Connettore 2 8">
            <a:extLst>
              <a:ext uri="{FF2B5EF4-FFF2-40B4-BE49-F238E27FC236}">
                <a16:creationId xmlns:a16="http://schemas.microsoft.com/office/drawing/2014/main" id="{52CD7BC9-BBFE-21B0-FACF-F265986CBB16}"/>
              </a:ext>
            </a:extLst>
          </p:cNvPr>
          <p:cNvCxnSpPr/>
          <p:nvPr/>
        </p:nvCxnSpPr>
        <p:spPr>
          <a:xfrm>
            <a:off x="2966499" y="2114394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ttore 2 9">
            <a:extLst>
              <a:ext uri="{FF2B5EF4-FFF2-40B4-BE49-F238E27FC236}">
                <a16:creationId xmlns:a16="http://schemas.microsoft.com/office/drawing/2014/main" id="{27E21FF2-8F49-1000-BC1C-D2CFD4420B0F}"/>
              </a:ext>
            </a:extLst>
          </p:cNvPr>
          <p:cNvCxnSpPr/>
          <p:nvPr/>
        </p:nvCxnSpPr>
        <p:spPr>
          <a:xfrm>
            <a:off x="4593145" y="2114394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ttore 2 11">
            <a:extLst>
              <a:ext uri="{FF2B5EF4-FFF2-40B4-BE49-F238E27FC236}">
                <a16:creationId xmlns:a16="http://schemas.microsoft.com/office/drawing/2014/main" id="{3C3F3803-0B0A-E6A6-68CE-F33DC846BE98}"/>
              </a:ext>
            </a:extLst>
          </p:cNvPr>
          <p:cNvCxnSpPr/>
          <p:nvPr/>
        </p:nvCxnSpPr>
        <p:spPr>
          <a:xfrm>
            <a:off x="6820530" y="2114394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ttore 2 12">
            <a:extLst>
              <a:ext uri="{FF2B5EF4-FFF2-40B4-BE49-F238E27FC236}">
                <a16:creationId xmlns:a16="http://schemas.microsoft.com/office/drawing/2014/main" id="{6B744D5C-7018-550C-F476-A0AFDC351D9A}"/>
              </a:ext>
            </a:extLst>
          </p:cNvPr>
          <p:cNvCxnSpPr/>
          <p:nvPr/>
        </p:nvCxnSpPr>
        <p:spPr>
          <a:xfrm>
            <a:off x="739114" y="3631803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ttangolo 13">
            <a:extLst>
              <a:ext uri="{FF2B5EF4-FFF2-40B4-BE49-F238E27FC236}">
                <a16:creationId xmlns:a16="http://schemas.microsoft.com/office/drawing/2014/main" id="{7B2570B8-B61C-A75A-035A-8D48E130CB03}"/>
              </a:ext>
            </a:extLst>
          </p:cNvPr>
          <p:cNvSpPr/>
          <p:nvPr/>
        </p:nvSpPr>
        <p:spPr bwMode="auto">
          <a:xfrm>
            <a:off x="1512837" y="3450829"/>
            <a:ext cx="1383323" cy="984002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it-IT" sz="1600" dirty="0">
                <a:solidFill>
                  <a:schemeClr val="tx1"/>
                </a:solidFill>
              </a:rPr>
              <a:t>LMS loops</a:t>
            </a:r>
            <a:endParaRPr lang="it-IT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5" name="Connettore 2 14">
            <a:extLst>
              <a:ext uri="{FF2B5EF4-FFF2-40B4-BE49-F238E27FC236}">
                <a16:creationId xmlns:a16="http://schemas.microsoft.com/office/drawing/2014/main" id="{DBAB66FB-9E11-A3D2-8164-710D7D76F969}"/>
              </a:ext>
            </a:extLst>
          </p:cNvPr>
          <p:cNvCxnSpPr/>
          <p:nvPr/>
        </p:nvCxnSpPr>
        <p:spPr>
          <a:xfrm>
            <a:off x="2966499" y="3983493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ttore 2 15">
            <a:extLst>
              <a:ext uri="{FF2B5EF4-FFF2-40B4-BE49-F238E27FC236}">
                <a16:creationId xmlns:a16="http://schemas.microsoft.com/office/drawing/2014/main" id="{8EBDDB95-180E-9EEB-3C70-B3CA9E90176F}"/>
              </a:ext>
            </a:extLst>
          </p:cNvPr>
          <p:cNvCxnSpPr/>
          <p:nvPr/>
        </p:nvCxnSpPr>
        <p:spPr>
          <a:xfrm>
            <a:off x="739114" y="4288294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ttore 2 23">
            <a:extLst>
              <a:ext uri="{FF2B5EF4-FFF2-40B4-BE49-F238E27FC236}">
                <a16:creationId xmlns:a16="http://schemas.microsoft.com/office/drawing/2014/main" id="{B69CC68F-AE81-02B4-47E1-DA1FFA85A072}"/>
              </a:ext>
            </a:extLst>
          </p:cNvPr>
          <p:cNvCxnSpPr>
            <a:cxnSpLocks/>
          </p:cNvCxnSpPr>
          <p:nvPr/>
        </p:nvCxnSpPr>
        <p:spPr>
          <a:xfrm>
            <a:off x="906647" y="5027523"/>
            <a:ext cx="535851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ttangolo 24">
            <a:extLst>
              <a:ext uri="{FF2B5EF4-FFF2-40B4-BE49-F238E27FC236}">
                <a16:creationId xmlns:a16="http://schemas.microsoft.com/office/drawing/2014/main" id="{0B9AD660-EBF7-95B9-DF14-7A010243F59A}"/>
              </a:ext>
            </a:extLst>
          </p:cNvPr>
          <p:cNvSpPr/>
          <p:nvPr/>
        </p:nvSpPr>
        <p:spPr bwMode="auto">
          <a:xfrm>
            <a:off x="1512837" y="4846549"/>
            <a:ext cx="2250831" cy="984002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wrap="square" lIns="72000" tIns="72000" rIns="72000" bIns="72000" rtlCol="0" anchor="ctr"/>
          <a:lstStyle/>
          <a:p>
            <a:pPr marL="0" indent="0" algn="ctr">
              <a:buNone/>
            </a:pPr>
            <a:r>
              <a:rPr lang="it-IT" sz="1600" dirty="0"/>
              <a:t>inverse of Volterra series miming the buffer</a:t>
            </a:r>
            <a:endParaRPr lang="it-IT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9" name="Connettore 2 25">
            <a:extLst>
              <a:ext uri="{FF2B5EF4-FFF2-40B4-BE49-F238E27FC236}">
                <a16:creationId xmlns:a16="http://schemas.microsoft.com/office/drawing/2014/main" id="{D0682320-D679-C635-7C48-215F33211898}"/>
              </a:ext>
            </a:extLst>
          </p:cNvPr>
          <p:cNvCxnSpPr/>
          <p:nvPr/>
        </p:nvCxnSpPr>
        <p:spPr>
          <a:xfrm>
            <a:off x="3926077" y="5379213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ttore 2 26">
            <a:extLst>
              <a:ext uri="{FF2B5EF4-FFF2-40B4-BE49-F238E27FC236}">
                <a16:creationId xmlns:a16="http://schemas.microsoft.com/office/drawing/2014/main" id="{E52AEE92-CD35-D058-AADE-A0112B24C9EA}"/>
              </a:ext>
            </a:extLst>
          </p:cNvPr>
          <p:cNvCxnSpPr/>
          <p:nvPr/>
        </p:nvCxnSpPr>
        <p:spPr>
          <a:xfrm>
            <a:off x="739114" y="5684014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Gruppo 1">
            <a:extLst>
              <a:ext uri="{FF2B5EF4-FFF2-40B4-BE49-F238E27FC236}">
                <a16:creationId xmlns:a16="http://schemas.microsoft.com/office/drawing/2014/main" id="{375C0007-062F-EA26-A709-E7978CB0E06C}"/>
              </a:ext>
            </a:extLst>
          </p:cNvPr>
          <p:cNvGrpSpPr/>
          <p:nvPr/>
        </p:nvGrpSpPr>
        <p:grpSpPr>
          <a:xfrm flipH="1">
            <a:off x="5296529" y="1579841"/>
            <a:ext cx="1524001" cy="1026834"/>
            <a:chOff x="5765471" y="4061359"/>
            <a:chExt cx="1674421" cy="1092530"/>
          </a:xfrm>
        </p:grpSpPr>
        <p:cxnSp>
          <p:nvCxnSpPr>
            <p:cNvPr id="22" name="Connettore 1 16">
              <a:extLst>
                <a:ext uri="{FF2B5EF4-FFF2-40B4-BE49-F238E27FC236}">
                  <a16:creationId xmlns:a16="http://schemas.microsoft.com/office/drawing/2014/main" id="{12E40836-C896-A7F0-61C8-462A3B7C3FA1}"/>
                </a:ext>
              </a:extLst>
            </p:cNvPr>
            <p:cNvCxnSpPr/>
            <p:nvPr/>
          </p:nvCxnSpPr>
          <p:spPr>
            <a:xfrm>
              <a:off x="5765471" y="4061359"/>
              <a:ext cx="0" cy="1092530"/>
            </a:xfrm>
            <a:prstGeom prst="line">
              <a:avLst/>
            </a:prstGeom>
            <a:ln w="9525">
              <a:solidFill>
                <a:schemeClr val="tx1"/>
              </a:solidFill>
              <a:prstDash val="lg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onnettore 1 17">
              <a:extLst>
                <a:ext uri="{FF2B5EF4-FFF2-40B4-BE49-F238E27FC236}">
                  <a16:creationId xmlns:a16="http://schemas.microsoft.com/office/drawing/2014/main" id="{41E25439-3BB9-DA5F-377A-530305488DE9}"/>
                </a:ext>
              </a:extLst>
            </p:cNvPr>
            <p:cNvCxnSpPr/>
            <p:nvPr/>
          </p:nvCxnSpPr>
          <p:spPr>
            <a:xfrm>
              <a:off x="5765471" y="4061360"/>
              <a:ext cx="1258784" cy="0"/>
            </a:xfrm>
            <a:prstGeom prst="line">
              <a:avLst/>
            </a:prstGeom>
            <a:ln w="9525">
              <a:solidFill>
                <a:schemeClr val="tx1"/>
              </a:solidFill>
              <a:prstDash val="lg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Connettore 1 18">
              <a:extLst>
                <a:ext uri="{FF2B5EF4-FFF2-40B4-BE49-F238E27FC236}">
                  <a16:creationId xmlns:a16="http://schemas.microsoft.com/office/drawing/2014/main" id="{7E343AFB-5359-240D-B3E9-E35B6012D75E}"/>
                </a:ext>
              </a:extLst>
            </p:cNvPr>
            <p:cNvCxnSpPr/>
            <p:nvPr/>
          </p:nvCxnSpPr>
          <p:spPr>
            <a:xfrm>
              <a:off x="5765471" y="5153889"/>
              <a:ext cx="1258784" cy="0"/>
            </a:xfrm>
            <a:prstGeom prst="line">
              <a:avLst/>
            </a:prstGeom>
            <a:ln w="9525">
              <a:solidFill>
                <a:schemeClr val="tx1"/>
              </a:solidFill>
              <a:prstDash val="lg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ttore 1 19">
              <a:extLst>
                <a:ext uri="{FF2B5EF4-FFF2-40B4-BE49-F238E27FC236}">
                  <a16:creationId xmlns:a16="http://schemas.microsoft.com/office/drawing/2014/main" id="{6C994E23-77B6-B9F7-93B8-86C8B4327453}"/>
                </a:ext>
              </a:extLst>
            </p:cNvPr>
            <p:cNvCxnSpPr>
              <a:cxnSpLocks/>
            </p:cNvCxnSpPr>
            <p:nvPr/>
          </p:nvCxnSpPr>
          <p:spPr>
            <a:xfrm>
              <a:off x="7024255" y="4061359"/>
              <a:ext cx="415637" cy="564077"/>
            </a:xfrm>
            <a:prstGeom prst="line">
              <a:avLst/>
            </a:prstGeom>
            <a:ln w="9525">
              <a:solidFill>
                <a:schemeClr val="tx1"/>
              </a:solidFill>
              <a:prstDash val="lg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nettore 1 20">
              <a:extLst>
                <a:ext uri="{FF2B5EF4-FFF2-40B4-BE49-F238E27FC236}">
                  <a16:creationId xmlns:a16="http://schemas.microsoft.com/office/drawing/2014/main" id="{6D2B6424-F701-6979-9AE8-CC0D9A758867}"/>
                </a:ext>
              </a:extLst>
            </p:cNvPr>
            <p:cNvCxnSpPr/>
            <p:nvPr/>
          </p:nvCxnSpPr>
          <p:spPr>
            <a:xfrm flipV="1">
              <a:off x="7024255" y="4625437"/>
              <a:ext cx="415637" cy="528452"/>
            </a:xfrm>
            <a:prstGeom prst="line">
              <a:avLst/>
            </a:prstGeom>
            <a:ln w="9525">
              <a:solidFill>
                <a:schemeClr val="tx1"/>
              </a:solidFill>
              <a:prstDash val="lg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CasellaDiTesto 29">
            <a:extLst>
              <a:ext uri="{FF2B5EF4-FFF2-40B4-BE49-F238E27FC236}">
                <a16:creationId xmlns:a16="http://schemas.microsoft.com/office/drawing/2014/main" id="{59CA69AA-1867-E188-620E-933CA2FF74C4}"/>
              </a:ext>
            </a:extLst>
          </p:cNvPr>
          <p:cNvSpPr txBox="1"/>
          <p:nvPr/>
        </p:nvSpPr>
        <p:spPr bwMode="auto">
          <a:xfrm flipH="1">
            <a:off x="5880217" y="1939300"/>
            <a:ext cx="731289" cy="301878"/>
          </a:xfrm>
          <a:prstGeom prst="rect">
            <a:avLst/>
          </a:prstGeom>
          <a:noFill/>
          <a:ln w="9525">
            <a:solidFill>
              <a:schemeClr val="tx1"/>
            </a:solidFill>
            <a:prstDash val="lgDash"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it-IT" sz="1800" b="1" strike="sngStrike" kern="0" baseline="0" dirty="0">
                <a:latin typeface="+mn-lt"/>
                <a:ea typeface="+mn-ea"/>
                <a:cs typeface="+mn-cs"/>
              </a:rPr>
              <a:t>ADC</a:t>
            </a:r>
          </a:p>
        </p:txBody>
      </p:sp>
      <p:sp>
        <p:nvSpPr>
          <p:cNvPr id="32" name="Isosceles Triangle 31">
            <a:extLst>
              <a:ext uri="{FF2B5EF4-FFF2-40B4-BE49-F238E27FC236}">
                <a16:creationId xmlns:a16="http://schemas.microsoft.com/office/drawing/2014/main" id="{97345DA8-71F5-4737-A2F0-A0FEE80096F3}"/>
              </a:ext>
            </a:extLst>
          </p:cNvPr>
          <p:cNvSpPr/>
          <p:nvPr/>
        </p:nvSpPr>
        <p:spPr bwMode="auto">
          <a:xfrm rot="5400000">
            <a:off x="1825168" y="1803577"/>
            <a:ext cx="755867" cy="612843"/>
          </a:xfrm>
          <a:prstGeom prst="triangl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tr-TR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62282E2-3F78-A450-6597-EE024D4AA165}"/>
              </a:ext>
            </a:extLst>
          </p:cNvPr>
          <p:cNvSpPr txBox="1"/>
          <p:nvPr/>
        </p:nvSpPr>
        <p:spPr bwMode="auto">
          <a:xfrm>
            <a:off x="9798059" y="6468006"/>
            <a:ext cx="2256817" cy="201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200" kern="0" dirty="0">
                <a:latin typeface="+mn-lt"/>
              </a:rPr>
              <a:t>Taken from Alessia’s Slides</a:t>
            </a:r>
            <a:endParaRPr lang="tr-TR" sz="1200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D277320-2DC5-823D-C9B5-1E3721000999}"/>
              </a:ext>
            </a:extLst>
          </p:cNvPr>
          <p:cNvSpPr txBox="1"/>
          <p:nvPr/>
        </p:nvSpPr>
        <p:spPr bwMode="auto">
          <a:xfrm>
            <a:off x="1563265" y="3512517"/>
            <a:ext cx="333415" cy="234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kern="0" baseline="0" dirty="0">
                <a:latin typeface="+mn-lt"/>
                <a:ea typeface="+mn-ea"/>
                <a:cs typeface="+mn-cs"/>
              </a:rPr>
              <a:t>in</a:t>
            </a:r>
            <a:endParaRPr lang="tr-TR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AB7AC7F-D814-9A50-BE01-738D542DB697}"/>
              </a:ext>
            </a:extLst>
          </p:cNvPr>
          <p:cNvSpPr txBox="1"/>
          <p:nvPr/>
        </p:nvSpPr>
        <p:spPr bwMode="auto">
          <a:xfrm>
            <a:off x="1563265" y="4138426"/>
            <a:ext cx="333415" cy="234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kern="0" baseline="0" dirty="0">
                <a:latin typeface="+mn-lt"/>
                <a:ea typeface="+mn-ea"/>
                <a:cs typeface="+mn-cs"/>
              </a:rPr>
              <a:t>out</a:t>
            </a:r>
            <a:endParaRPr lang="tr-TR" kern="0" baseline="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01876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907951-C13E-A983-2A22-E95C6FC199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00447A4-72BC-C150-D84B-3B26812A87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done – Dynamic Calibration : Recap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E93272-FC3A-A77F-4566-24F8E8D5255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8496E9-FB2C-1A45-4BD8-F35F8519AD9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8" name="Segnaposto contenuto 1">
            <a:extLst>
              <a:ext uri="{FF2B5EF4-FFF2-40B4-BE49-F238E27FC236}">
                <a16:creationId xmlns:a16="http://schemas.microsoft.com/office/drawing/2014/main" id="{D7B13872-1942-CB3B-EB60-680EC0D629C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34800" y="1268414"/>
            <a:ext cx="11520000" cy="5113337"/>
          </a:xfrm>
        </p:spPr>
        <p:txBody>
          <a:bodyPr/>
          <a:lstStyle/>
          <a:p>
            <a:pPr marL="0" indent="0">
              <a:buNone/>
            </a:pPr>
            <a:r>
              <a:rPr lang="it-IT" dirty="0">
                <a:highlight>
                  <a:srgbClr val="7390A6"/>
                </a:highlight>
              </a:rPr>
              <a:t>Volterra Series	</a:t>
            </a:r>
            <a:r>
              <a:rPr lang="it-IT" dirty="0"/>
              <a:t>							</a:t>
            </a:r>
            <a:r>
              <a:rPr lang="it-IT" dirty="0">
                <a:highlight>
                  <a:srgbClr val="7390A6"/>
                </a:highlight>
              </a:rPr>
              <a:t>Memory </a:t>
            </a:r>
            <a:r>
              <a:rPr lang="it-IT" dirty="0" err="1">
                <a:highlight>
                  <a:srgbClr val="7390A6"/>
                </a:highlight>
              </a:rPr>
              <a:t>Polinomials</a:t>
            </a:r>
            <a:r>
              <a:rPr lang="it-IT" dirty="0">
                <a:highlight>
                  <a:srgbClr val="7390A6"/>
                </a:highlight>
              </a:rPr>
              <a:t> </a:t>
            </a:r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r>
              <a:rPr lang="it-IT" dirty="0"/>
              <a:t>										Memory </a:t>
            </a:r>
            <a:r>
              <a:rPr lang="it-IT" dirty="0" err="1"/>
              <a:t>polynomials</a:t>
            </a:r>
            <a:r>
              <a:rPr lang="it-IT" dirty="0"/>
              <a:t> are a special case of Volterra</a:t>
            </a:r>
          </a:p>
          <a:p>
            <a:pPr marL="0" indent="0">
              <a:buNone/>
            </a:pPr>
            <a:r>
              <a:rPr lang="it-IT" dirty="0"/>
              <a:t>										series; specifically, they are obtained by setting to 											zero the coefficients of all terms involving the 												product of input samples at different time instants.</a:t>
            </a:r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r>
              <a:rPr lang="it-IT" dirty="0"/>
              <a:t>										For a </a:t>
            </a:r>
            <a:r>
              <a:rPr lang="it-IT" dirty="0" err="1"/>
              <a:t>memory</a:t>
            </a:r>
            <a:r>
              <a:rPr lang="it-IT" dirty="0"/>
              <a:t> </a:t>
            </a:r>
            <a:r>
              <a:rPr lang="it-IT" dirty="0" err="1"/>
              <a:t>polynomial</a:t>
            </a:r>
            <a:r>
              <a:rPr lang="it-IT" dirty="0"/>
              <a:t> of </a:t>
            </a:r>
            <a:r>
              <a:rPr lang="it-IT" dirty="0" err="1"/>
              <a:t>order</a:t>
            </a:r>
            <a:r>
              <a:rPr lang="it-IT" dirty="0"/>
              <a:t> </a:t>
            </a:r>
            <a:r>
              <a:rPr lang="it-IT" dirty="0" err="1"/>
              <a:t>p</a:t>
            </a:r>
            <a:r>
              <a:rPr lang="it-IT" dirty="0"/>
              <a:t> and </a:t>
            </a:r>
            <a:r>
              <a:rPr lang="it-IT" dirty="0" err="1"/>
              <a:t>memory</a:t>
            </a:r>
            <a:r>
              <a:rPr lang="it-IT" dirty="0"/>
              <a:t> 											m, the </a:t>
            </a:r>
            <a:r>
              <a:rPr lang="it-IT" dirty="0" err="1"/>
              <a:t>number</a:t>
            </a:r>
            <a:r>
              <a:rPr lang="it-IT" dirty="0"/>
              <a:t> of </a:t>
            </a:r>
            <a:r>
              <a:rPr lang="it-IT" dirty="0" err="1"/>
              <a:t>coefficients</a:t>
            </a:r>
            <a:r>
              <a:rPr lang="it-IT" dirty="0"/>
              <a:t> </a:t>
            </a:r>
            <a:r>
              <a:rPr lang="it-IT" dirty="0" err="1"/>
              <a:t>N</a:t>
            </a:r>
            <a:r>
              <a:rPr lang="it-IT" baseline="-25000" dirty="0" err="1"/>
              <a:t>c</a:t>
            </a:r>
            <a:r>
              <a:rPr lang="it-IT" dirty="0"/>
              <a:t> </a:t>
            </a:r>
            <a:r>
              <a:rPr lang="it-IT" dirty="0" err="1"/>
              <a:t>is</a:t>
            </a:r>
            <a:r>
              <a:rPr lang="it-IT" dirty="0"/>
              <a:t> m*p.</a:t>
            </a:r>
          </a:p>
          <a:p>
            <a:pPr marL="0" indent="0">
              <a:buNone/>
            </a:pPr>
            <a:endParaRPr lang="it-IT" dirty="0"/>
          </a:p>
        </p:txBody>
      </p:sp>
      <p:pic>
        <p:nvPicPr>
          <p:cNvPr id="9" name="Immagine 5">
            <a:extLst>
              <a:ext uri="{FF2B5EF4-FFF2-40B4-BE49-F238E27FC236}">
                <a16:creationId xmlns:a16="http://schemas.microsoft.com/office/drawing/2014/main" id="{E5486BE3-2B70-ED97-AE31-299F83AABD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4800" y="1877156"/>
            <a:ext cx="1905000" cy="876300"/>
          </a:xfrm>
          <a:prstGeom prst="rect">
            <a:avLst/>
          </a:prstGeom>
        </p:spPr>
      </p:pic>
      <p:pic>
        <p:nvPicPr>
          <p:cNvPr id="10" name="Immagine 6">
            <a:extLst>
              <a:ext uri="{FF2B5EF4-FFF2-40B4-BE49-F238E27FC236}">
                <a16:creationId xmlns:a16="http://schemas.microsoft.com/office/drawing/2014/main" id="{65512243-AC13-AE91-79DD-CC946A658A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4800" y="2704242"/>
            <a:ext cx="5295900" cy="800100"/>
          </a:xfrm>
          <a:prstGeom prst="rect">
            <a:avLst/>
          </a:prstGeom>
        </p:spPr>
      </p:pic>
      <p:pic>
        <p:nvPicPr>
          <p:cNvPr id="11" name="Immagine 7">
            <a:extLst>
              <a:ext uri="{FF2B5EF4-FFF2-40B4-BE49-F238E27FC236}">
                <a16:creationId xmlns:a16="http://schemas.microsoft.com/office/drawing/2014/main" id="{879D2621-4D9C-293A-4D03-5E5A55CCCB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4800" y="1940656"/>
            <a:ext cx="3327400" cy="8128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3763A3A0-CFFC-6B35-1252-C801018DB8EE}"/>
              </a:ext>
            </a:extLst>
          </p:cNvPr>
          <p:cNvSpPr txBox="1"/>
          <p:nvPr/>
        </p:nvSpPr>
        <p:spPr bwMode="auto">
          <a:xfrm>
            <a:off x="9798059" y="6468006"/>
            <a:ext cx="2256817" cy="201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200" kern="0" dirty="0">
                <a:latin typeface="+mn-lt"/>
              </a:rPr>
              <a:t>Taken from Alessia’s Slides</a:t>
            </a:r>
            <a:endParaRPr lang="tr-TR" sz="1200" kern="0" baseline="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43933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B9DCEA9-EC54-628A-9B39-9CC48B84BB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done – Dynamic Calibration : Recap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D7A0F7D-0883-841C-D46C-8B1208CAB75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3374302-0120-991F-78E7-D0E901D25C1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Segnaposto contenuto 1">
            <a:extLst>
              <a:ext uri="{FF2B5EF4-FFF2-40B4-BE49-F238E27FC236}">
                <a16:creationId xmlns:a16="http://schemas.microsoft.com/office/drawing/2014/main" id="{47606188-D96F-8516-DEAB-83727E8525C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34799" y="1301584"/>
            <a:ext cx="6211916" cy="5113337"/>
          </a:xfrm>
        </p:spPr>
        <p:txBody>
          <a:bodyPr/>
          <a:lstStyle/>
          <a:p>
            <a:pPr marL="0" indent="0">
              <a:buNone/>
            </a:pPr>
            <a:r>
              <a:rPr lang="it-IT" dirty="0">
                <a:highlight>
                  <a:srgbClr val="7390A6"/>
                </a:highlight>
              </a:rPr>
              <a:t>Volterra Series</a:t>
            </a:r>
          </a:p>
          <a:p>
            <a:pPr marL="0" indent="0">
              <a:buNone/>
            </a:pPr>
            <a:r>
              <a:rPr lang="it-IT" sz="1800" dirty="0"/>
              <a:t>Y</a:t>
            </a:r>
            <a:r>
              <a:rPr lang="it-IT" sz="1800" baseline="-25000" dirty="0"/>
              <a:t>k</a:t>
            </a:r>
            <a:r>
              <a:rPr lang="it-IT" sz="1800" dirty="0"/>
              <a:t>(n) = h(0)*y(n) + h(1)*y(n-1) + h(2)*y(n-2) </a:t>
            </a:r>
            <a:br>
              <a:rPr lang="it-IT" sz="1800" dirty="0"/>
            </a:br>
            <a:endParaRPr lang="it-IT" sz="1800" dirty="0"/>
          </a:p>
          <a:p>
            <a:pPr marL="0" indent="0">
              <a:buNone/>
            </a:pPr>
            <a:r>
              <a:rPr lang="it-IT" sz="1800" dirty="0"/>
              <a:t>+ h(3)*y(n)*y(n) </a:t>
            </a:r>
            <a:r>
              <a:rPr lang="it-IT" sz="1800" i="1" dirty="0"/>
              <a:t>+ h(4)*y(n)*y(n-1) + h(5)*y(n)*y(n-2)</a:t>
            </a:r>
          </a:p>
          <a:p>
            <a:pPr marL="0" indent="0">
              <a:buNone/>
            </a:pPr>
            <a:endParaRPr lang="it-IT" sz="1800" dirty="0"/>
          </a:p>
          <a:p>
            <a:pPr marL="0" indent="0">
              <a:buNone/>
            </a:pPr>
            <a:r>
              <a:rPr lang="it-IT" sz="1800" dirty="0"/>
              <a:t>+ h(6)*y(n-1)*y(n-1) + </a:t>
            </a:r>
            <a:r>
              <a:rPr lang="it-IT" sz="1800" i="1" dirty="0"/>
              <a:t>h(7)*y(n-1)*y(n) + h(8)*y(n-1)*y(n-2)</a:t>
            </a:r>
          </a:p>
          <a:p>
            <a:pPr marL="0" indent="0">
              <a:buNone/>
            </a:pPr>
            <a:endParaRPr lang="it-IT" sz="1800" dirty="0"/>
          </a:p>
          <a:p>
            <a:pPr marL="0" indent="0">
              <a:buNone/>
            </a:pPr>
            <a:r>
              <a:rPr lang="it-IT" sz="1800" dirty="0"/>
              <a:t>+ h(9)*y(n-2)*y(n-2) + </a:t>
            </a:r>
            <a:r>
              <a:rPr lang="it-IT" sz="1800" i="1" dirty="0"/>
              <a:t>h(10)*y(n-2)*y(n) + h(11)*y(n-2)*y(n-1)</a:t>
            </a:r>
            <a:br>
              <a:rPr lang="it-IT" sz="1800" i="1" dirty="0"/>
            </a:br>
            <a:br>
              <a:rPr lang="it-IT" sz="1800" i="1" dirty="0"/>
            </a:br>
            <a:br>
              <a:rPr lang="it-IT" sz="1800" i="1" dirty="0"/>
            </a:br>
            <a:r>
              <a:rPr lang="it-IT" sz="1800" dirty="0"/>
              <a:t>Total Number of Coefficients = 12 = (M+1)</a:t>
            </a:r>
            <a:r>
              <a:rPr lang="it-IT" sz="1800" baseline="30000" dirty="0"/>
              <a:t>P</a:t>
            </a:r>
            <a:endParaRPr lang="it-IT" sz="1800" i="1" baseline="30000" dirty="0"/>
          </a:p>
          <a:p>
            <a:pPr marL="0" indent="0">
              <a:buNone/>
            </a:pPr>
            <a:endParaRPr lang="it-IT" sz="1800" dirty="0"/>
          </a:p>
          <a:p>
            <a:pPr marL="0" indent="0">
              <a:buNone/>
            </a:pPr>
            <a:endParaRPr lang="it-IT" sz="1800" dirty="0">
              <a:highlight>
                <a:srgbClr val="7390A6"/>
              </a:highlight>
            </a:endParaRPr>
          </a:p>
        </p:txBody>
      </p:sp>
      <p:sp>
        <p:nvSpPr>
          <p:cNvPr id="7" name="Segnaposto contenuto 1">
            <a:extLst>
              <a:ext uri="{FF2B5EF4-FFF2-40B4-BE49-F238E27FC236}">
                <a16:creationId xmlns:a16="http://schemas.microsoft.com/office/drawing/2014/main" id="{62447BA6-BF2D-994E-C5E2-79BD6ED786BC}"/>
              </a:ext>
            </a:extLst>
          </p:cNvPr>
          <p:cNvSpPr txBox="1">
            <a:spLocks/>
          </p:cNvSpPr>
          <p:nvPr/>
        </p:nvSpPr>
        <p:spPr>
          <a:xfrm>
            <a:off x="6974732" y="1319117"/>
            <a:ext cx="5760000" cy="5113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52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20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600" baseline="0">
                <a:solidFill>
                  <a:schemeClr val="tx1"/>
                </a:solidFill>
                <a:latin typeface="+mn-lt"/>
                <a:cs typeface="+mn-cs"/>
              </a:defRPr>
            </a:lvl6pPr>
            <a:lvl7pPr marL="1260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260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1260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it-IT" kern="0" dirty="0">
                <a:highlight>
                  <a:srgbClr val="7390A6"/>
                </a:highlight>
              </a:rPr>
              <a:t>Memory Polinomials</a:t>
            </a:r>
          </a:p>
          <a:p>
            <a:pPr marL="0" indent="0">
              <a:buNone/>
            </a:pPr>
            <a:r>
              <a:rPr lang="it-IT" sz="1800" dirty="0"/>
              <a:t>Y</a:t>
            </a:r>
            <a:r>
              <a:rPr lang="it-IT" sz="1800" baseline="-25000" dirty="0"/>
              <a:t>k</a:t>
            </a:r>
            <a:r>
              <a:rPr lang="it-IT" sz="1800" dirty="0"/>
              <a:t>(n) = h(0)*y(n) + h(1)*y(n-1) + h(2)*y(n-2) </a:t>
            </a:r>
            <a:br>
              <a:rPr lang="it-IT" sz="1800" dirty="0"/>
            </a:br>
            <a:endParaRPr lang="it-IT" sz="1800" dirty="0"/>
          </a:p>
          <a:p>
            <a:pPr marL="0" indent="0">
              <a:buNone/>
            </a:pPr>
            <a:r>
              <a:rPr lang="it-IT" sz="1800" dirty="0"/>
              <a:t>+ h(3)*y(n)*y(n) </a:t>
            </a:r>
          </a:p>
          <a:p>
            <a:pPr marL="0" indent="0">
              <a:buNone/>
            </a:pPr>
            <a:endParaRPr lang="it-IT" sz="1800" dirty="0"/>
          </a:p>
          <a:p>
            <a:pPr marL="0" indent="0">
              <a:buNone/>
            </a:pPr>
            <a:r>
              <a:rPr lang="it-IT" sz="1800" dirty="0"/>
              <a:t>+ h(4)*y(n-1)*y(n-1)</a:t>
            </a:r>
          </a:p>
          <a:p>
            <a:pPr marL="0" indent="0">
              <a:buNone/>
            </a:pPr>
            <a:endParaRPr lang="it-IT" sz="1800" dirty="0"/>
          </a:p>
          <a:p>
            <a:pPr marL="0" indent="0">
              <a:buNone/>
            </a:pPr>
            <a:r>
              <a:rPr lang="it-IT" sz="1800" dirty="0"/>
              <a:t>+ h(5)*y(n-2)*y(n-2) </a:t>
            </a:r>
            <a:endParaRPr lang="it-IT" sz="2000" dirty="0"/>
          </a:p>
          <a:p>
            <a:pPr marL="0" indent="0">
              <a:buFont typeface="Arial" panose="020B0604020202020204" pitchFamily="34" charset="0"/>
              <a:buNone/>
            </a:pPr>
            <a:endParaRPr lang="it-IT" kern="0" dirty="0">
              <a:highlight>
                <a:srgbClr val="7390A6"/>
              </a:highlight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it-IT" kern="0" dirty="0">
              <a:highlight>
                <a:srgbClr val="7390A6"/>
              </a:highlight>
            </a:endParaRPr>
          </a:p>
          <a:p>
            <a:pPr marL="0" indent="0">
              <a:buNone/>
            </a:pPr>
            <a:r>
              <a:rPr lang="it-IT" sz="1800" dirty="0"/>
              <a:t>Total Number of Coefficients = 6 = (M+1)*P</a:t>
            </a:r>
          </a:p>
          <a:p>
            <a:pPr marL="0" indent="0">
              <a:buNone/>
            </a:pPr>
            <a:endParaRPr lang="it-IT" sz="1800" i="1" dirty="0"/>
          </a:p>
          <a:p>
            <a:pPr marL="0" indent="0">
              <a:buFont typeface="Arial" panose="020B0604020202020204" pitchFamily="34" charset="0"/>
              <a:buNone/>
            </a:pPr>
            <a:endParaRPr lang="it-IT" kern="0" dirty="0">
              <a:highlight>
                <a:srgbClr val="7390A6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B8529D6-8F4D-4CBE-9047-1A3E35739A8C}"/>
              </a:ext>
            </a:extLst>
          </p:cNvPr>
          <p:cNvSpPr txBox="1"/>
          <p:nvPr/>
        </p:nvSpPr>
        <p:spPr bwMode="auto">
          <a:xfrm>
            <a:off x="5165387" y="954213"/>
            <a:ext cx="3210128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800" kern="0" baseline="0" dirty="0">
                <a:latin typeface="+mn-lt"/>
                <a:ea typeface="+mn-ea"/>
                <a:cs typeface="+mn-cs"/>
              </a:rPr>
              <a:t>Example fo</a:t>
            </a:r>
            <a:r>
              <a:rPr lang="en-US" sz="1800" kern="0" dirty="0">
                <a:latin typeface="+mn-lt"/>
              </a:rPr>
              <a:t>r M=2 &amp; P=2</a:t>
            </a:r>
            <a:endParaRPr lang="tr-TR" sz="1800" kern="0" baseline="0" dirty="0">
              <a:latin typeface="+mn-lt"/>
              <a:ea typeface="+mn-ea"/>
              <a:cs typeface="+mn-c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253310D-F8DF-A314-C1D6-4BC6E133182F}"/>
              </a:ext>
            </a:extLst>
          </p:cNvPr>
          <p:cNvCxnSpPr/>
          <p:nvPr/>
        </p:nvCxnSpPr>
        <p:spPr>
          <a:xfrm>
            <a:off x="6770451" y="1319117"/>
            <a:ext cx="0" cy="4556389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82900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97C9D0-26F4-E82A-522F-E1A2147255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6593D3-3D08-2332-F39B-D1F8A5806C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done – Dynamic Calibration : Buffer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1F2F55-8D38-C3B8-FC85-2798678F7A1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57C0B86-8D86-E59B-66E2-01BB843C52E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0" name="Segnaposto contenuto 2">
            <a:extLst>
              <a:ext uri="{FF2B5EF4-FFF2-40B4-BE49-F238E27FC236}">
                <a16:creationId xmlns:a16="http://schemas.microsoft.com/office/drawing/2014/main" id="{6AEC99AD-1D98-6F36-EC3E-AB9ACCE253E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34800" y="1268414"/>
            <a:ext cx="7943438" cy="5113337"/>
          </a:xfrm>
        </p:spPr>
        <p:txBody>
          <a:bodyPr/>
          <a:lstStyle/>
          <a:p>
            <a:r>
              <a:rPr lang="it-IT" dirty="0"/>
              <a:t>During Virtuoso</a:t>
            </a:r>
          </a:p>
          <a:p>
            <a:pPr lvl="1"/>
            <a:r>
              <a:rPr lang="it-IT" dirty="0"/>
              <a:t>Problem 1: Settling time</a:t>
            </a:r>
          </a:p>
          <a:p>
            <a:pPr lvl="1"/>
            <a:r>
              <a:rPr lang="it-IT" dirty="0"/>
              <a:t>Problem 2: THD and SFDR values for NFFT</a:t>
            </a:r>
          </a:p>
          <a:p>
            <a:endParaRPr lang="it-IT" dirty="0"/>
          </a:p>
          <a:p>
            <a:r>
              <a:rPr lang="it-IT" dirty="0"/>
              <a:t>During MATLAB</a:t>
            </a:r>
          </a:p>
          <a:p>
            <a:pPr lvl="1"/>
            <a:r>
              <a:rPr lang="it-IT" dirty="0"/>
              <a:t>Problem 1: Memorial Effect</a:t>
            </a:r>
          </a:p>
          <a:p>
            <a:pPr lvl="1"/>
            <a:r>
              <a:rPr lang="it-IT" dirty="0"/>
              <a:t>Problem 2: Coefficient values</a:t>
            </a:r>
          </a:p>
          <a:p>
            <a:pPr lvl="1"/>
            <a:r>
              <a:rPr lang="it-IT" dirty="0"/>
              <a:t>Problem 3: Assuming system can be irreversible using a type of series</a:t>
            </a:r>
          </a:p>
          <a:p>
            <a:pPr lvl="1"/>
            <a:endParaRPr lang="it-IT" dirty="0"/>
          </a:p>
        </p:txBody>
      </p:sp>
      <p:pic>
        <p:nvPicPr>
          <p:cNvPr id="13" name="Picture 12" descr="A diagram of a graph&#10;&#10;AI-generated content may be incorrect.">
            <a:extLst>
              <a:ext uri="{FF2B5EF4-FFF2-40B4-BE49-F238E27FC236}">
                <a16:creationId xmlns:a16="http://schemas.microsoft.com/office/drawing/2014/main" id="{FBA88DB9-5489-7B54-B1A7-881A7C56AFB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8238" y="1090905"/>
            <a:ext cx="3352381" cy="4676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29177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3AC4D9-EB29-9526-A7AA-4FB57426B4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13732CA-6571-3215-CBB3-F9CBB00C5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done – Dynamic Calibration : Memory-SFDR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76A225E-542F-E3EA-9077-F6541947FEB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4D5D75B-59D4-E9A0-D126-43B46340B60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94ABCA3-8F56-EB3A-EE24-45D06DBD4D49}"/>
              </a:ext>
            </a:extLst>
          </p:cNvPr>
          <p:cNvCxnSpPr>
            <a:cxnSpLocks/>
          </p:cNvCxnSpPr>
          <p:nvPr/>
        </p:nvCxnSpPr>
        <p:spPr>
          <a:xfrm>
            <a:off x="6348919" y="840626"/>
            <a:ext cx="0" cy="6017374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 descr="A graph of numbers and a number of objects&#10;&#10;AI-generated content may be incorrect.">
            <a:extLst>
              <a:ext uri="{FF2B5EF4-FFF2-40B4-BE49-F238E27FC236}">
                <a16:creationId xmlns:a16="http://schemas.microsoft.com/office/drawing/2014/main" id="{C7834C19-F0EA-D4D7-7E99-AF2EE37FA0D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508" y="1556539"/>
            <a:ext cx="5208574" cy="3424021"/>
          </a:xfrm>
          <a:prstGeom prst="rect">
            <a:avLst/>
          </a:prstGeom>
        </p:spPr>
      </p:pic>
      <p:pic>
        <p:nvPicPr>
          <p:cNvPr id="20" name="Picture 19" descr="A graph of numbers and a number of objects&#10;&#10;AI-generated content may be incorrect.">
            <a:extLst>
              <a:ext uri="{FF2B5EF4-FFF2-40B4-BE49-F238E27FC236}">
                <a16:creationId xmlns:a16="http://schemas.microsoft.com/office/drawing/2014/main" id="{9CCB454C-0006-A840-AD53-5C93BD22717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8066" y="1556538"/>
            <a:ext cx="5208575" cy="3424021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8BE4441A-FAA6-B84B-E40E-10B042CB9826}"/>
              </a:ext>
            </a:extLst>
          </p:cNvPr>
          <p:cNvSpPr txBox="1"/>
          <p:nvPr/>
        </p:nvSpPr>
        <p:spPr bwMode="auto">
          <a:xfrm>
            <a:off x="4568758" y="5866435"/>
            <a:ext cx="3560321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ctr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800" kern="0" baseline="0" dirty="0">
                <a:latin typeface="+mn-lt"/>
                <a:ea typeface="+mn-ea"/>
                <a:cs typeface="+mn-cs"/>
              </a:rPr>
              <a:t>Polynomial orders = x</a:t>
            </a:r>
            <a:r>
              <a:rPr lang="en-US" sz="1800" kern="0" baseline="30000" dirty="0">
                <a:latin typeface="+mn-lt"/>
                <a:ea typeface="+mn-ea"/>
                <a:cs typeface="+mn-cs"/>
              </a:rPr>
              <a:t>1</a:t>
            </a:r>
            <a:r>
              <a:rPr lang="en-US" sz="1800" kern="0" baseline="0" dirty="0">
                <a:latin typeface="+mn-lt"/>
                <a:ea typeface="+mn-ea"/>
                <a:cs typeface="+mn-cs"/>
              </a:rPr>
              <a:t> x</a:t>
            </a:r>
            <a:r>
              <a:rPr lang="en-US" sz="1800" kern="0" baseline="30000" dirty="0">
                <a:latin typeface="+mn-lt"/>
                <a:ea typeface="+mn-ea"/>
                <a:cs typeface="+mn-cs"/>
              </a:rPr>
              <a:t>3</a:t>
            </a:r>
            <a:r>
              <a:rPr lang="en-US" sz="1800" kern="0" baseline="0" dirty="0">
                <a:latin typeface="+mn-lt"/>
                <a:ea typeface="+mn-ea"/>
                <a:cs typeface="+mn-cs"/>
              </a:rPr>
              <a:t> x</a:t>
            </a:r>
            <a:r>
              <a:rPr lang="en-US" sz="1800" kern="0" baseline="30000" dirty="0">
                <a:latin typeface="+mn-lt"/>
              </a:rPr>
              <a:t>5</a:t>
            </a:r>
            <a:r>
              <a:rPr lang="en-US" sz="1800" kern="0" baseline="0" dirty="0">
                <a:latin typeface="+mn-lt"/>
                <a:ea typeface="+mn-ea"/>
                <a:cs typeface="+mn-cs"/>
              </a:rPr>
              <a:t> x</a:t>
            </a:r>
            <a:r>
              <a:rPr lang="en-US" sz="1800" kern="0" baseline="30000" dirty="0">
                <a:latin typeface="+mn-lt"/>
              </a:rPr>
              <a:t>7</a:t>
            </a:r>
            <a:endParaRPr lang="tr-TR" sz="1800" kern="0" baseline="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79935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D36F23-8C70-322B-9187-31B091CC70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4D1F268-10F2-C620-0BA8-054E25741B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done – Dynamic Calibration : Memory-THD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855D9F-77FF-1D19-CC7F-D3A648C0555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C6BC5F-C6AA-9425-A972-244B9A1D56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DA31D55-F536-C12B-6347-3E5710B12F62}"/>
              </a:ext>
            </a:extLst>
          </p:cNvPr>
          <p:cNvCxnSpPr>
            <a:cxnSpLocks/>
          </p:cNvCxnSpPr>
          <p:nvPr/>
        </p:nvCxnSpPr>
        <p:spPr>
          <a:xfrm>
            <a:off x="6348919" y="840626"/>
            <a:ext cx="0" cy="6017374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A graph of numbers and values&#10;&#10;AI-generated content may be incorrect.">
            <a:extLst>
              <a:ext uri="{FF2B5EF4-FFF2-40B4-BE49-F238E27FC236}">
                <a16:creationId xmlns:a16="http://schemas.microsoft.com/office/drawing/2014/main" id="{44D6CCF6-80D9-7815-2B37-FF699E9805F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8066" y="1609985"/>
            <a:ext cx="5296306" cy="3424021"/>
          </a:xfrm>
          <a:prstGeom prst="rect">
            <a:avLst/>
          </a:prstGeom>
        </p:spPr>
      </p:pic>
      <p:pic>
        <p:nvPicPr>
          <p:cNvPr id="21" name="Picture 20" descr="A graph of numbers and values&#10;&#10;AI-generated content may be incorrect.">
            <a:extLst>
              <a:ext uri="{FF2B5EF4-FFF2-40B4-BE49-F238E27FC236}">
                <a16:creationId xmlns:a16="http://schemas.microsoft.com/office/drawing/2014/main" id="{86FB067C-DA38-E454-7705-8036535656E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508" y="1609985"/>
            <a:ext cx="5296305" cy="342402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AB83D28-BB95-CC4D-EDC1-BB666111A0FB}"/>
              </a:ext>
            </a:extLst>
          </p:cNvPr>
          <p:cNvSpPr txBox="1"/>
          <p:nvPr/>
        </p:nvSpPr>
        <p:spPr bwMode="auto">
          <a:xfrm>
            <a:off x="4568758" y="5866435"/>
            <a:ext cx="3560321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ctr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800" kern="0" baseline="0" dirty="0">
                <a:latin typeface="+mn-lt"/>
                <a:ea typeface="+mn-ea"/>
                <a:cs typeface="+mn-cs"/>
              </a:rPr>
              <a:t>Polynomial orders = x</a:t>
            </a:r>
            <a:r>
              <a:rPr lang="en-US" sz="1800" kern="0" baseline="30000" dirty="0">
                <a:latin typeface="+mn-lt"/>
                <a:ea typeface="+mn-ea"/>
                <a:cs typeface="+mn-cs"/>
              </a:rPr>
              <a:t>1</a:t>
            </a:r>
            <a:r>
              <a:rPr lang="en-US" sz="1800" kern="0" baseline="0" dirty="0">
                <a:latin typeface="+mn-lt"/>
                <a:ea typeface="+mn-ea"/>
                <a:cs typeface="+mn-cs"/>
              </a:rPr>
              <a:t> x</a:t>
            </a:r>
            <a:r>
              <a:rPr lang="en-US" sz="1800" kern="0" baseline="30000" dirty="0">
                <a:latin typeface="+mn-lt"/>
                <a:ea typeface="+mn-ea"/>
                <a:cs typeface="+mn-cs"/>
              </a:rPr>
              <a:t>3</a:t>
            </a:r>
            <a:r>
              <a:rPr lang="en-US" sz="1800" kern="0" baseline="0" dirty="0">
                <a:latin typeface="+mn-lt"/>
                <a:ea typeface="+mn-ea"/>
                <a:cs typeface="+mn-cs"/>
              </a:rPr>
              <a:t> x</a:t>
            </a:r>
            <a:r>
              <a:rPr lang="en-US" sz="1800" kern="0" baseline="30000" dirty="0">
                <a:latin typeface="+mn-lt"/>
              </a:rPr>
              <a:t>5</a:t>
            </a:r>
            <a:r>
              <a:rPr lang="en-US" sz="1800" kern="0" baseline="0" dirty="0">
                <a:latin typeface="+mn-lt"/>
                <a:ea typeface="+mn-ea"/>
                <a:cs typeface="+mn-cs"/>
              </a:rPr>
              <a:t> x</a:t>
            </a:r>
            <a:r>
              <a:rPr lang="en-US" sz="1800" kern="0" baseline="30000" dirty="0">
                <a:latin typeface="+mn-lt"/>
              </a:rPr>
              <a:t>7</a:t>
            </a:r>
            <a:endParaRPr lang="tr-TR" sz="1800" kern="0" baseline="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13684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CLMASTER" val="0"/>
  <p:tag name="SLIDESPERROW" val="4"/>
  <p:tag name="THUMBWIDTH" val="220"/>
  <p:tag name="INFINEON_CATEGORY" val="{&quot;CategoryList&quot;:[],&quot;CategoryDictionary&quot;:{}}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YBAQEBAQEBAQEBAQEBAQIAAAAAAAAAAwAAAAMAAAAA/////wQASw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0GBAEGmsRCrWeMKWDzcgcFAAAAAAADAAAAAAADAAAAAwADAAEA////////BAAAAAMAEAALVNGgrCHzak+1I7mkeTCCY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F0GBAEGmsRCrWeMKWDzcgcDRGF0YQAbAAAABExpbmtlZFNoYXBlRGF0YQAFAAAAAAACTmFtZQAZAAAATGlua2VkU2hhcGVzRGF0YVByb3BlcnR5ABBWZXJzaW9uAAAAAAAJTGFzdFdyaXRlAEHvOgOCAQAAAAEA/////8YAxgAAAAVfaWQAEAAAAARU0aCsIfNqT7UjuaR5MIJhA0RhdGEAUwAAAAhQcmVzZW50YXRpb25TY2FubmVkRm9yTGlua2VkU2hhcGVzAAECTnVtYmVyRm9ybWF0U2VwYXJhdG9yTW9kZQAKAAAAQXV0b21hdGljAAACTmFtZQAkAAAATGlua2VkU2hhcGVQcmVzZW50YXRpb25TZXR0aW5nc0RhdGEAEFZlcnNpb24AAAAAAAlMYXN0V3JpdGUAWe86A4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Two_Columns_RowMIOPlaceholderMapping.12MIOPlaceholderMapping-Infineon 16:9MIOPlaceholderMapping.Row | 2 columns | rowMIOPlaceholderMapping.1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hree_ColumnsMIOPlaceholderMapping.13MIOPlaceholderMapping-Infineon 16:9MIOPlaceholderMapping.3 columnsMIOPlaceholderMapping.1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hree_ColumnsMIOPlaceholderMapping.14MIOPlaceholderMapping-Infineon 16:9MIOPlaceholderMapping.Row | 3 columnsMIOPlaceholderMapping.13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_1MIOPlaceholderMapping.2MIOPlaceholderMapping-Infineon 16:9MIOPlaceholderMapping.Presentation title 1MIOPlaceholderMapping.1MIOPlaceholderMapping;Infineon 16:9MIOPlaceholderMapping.IFX_PresentationTitle_2MIOPlaceholderMapping.3MIOPlaceholderMapping-Infineon 16:9MIOPlaceholderMapping.Presentation title 1MIOPlaceholderMapping.1MIOPlaceholderMapping;Infineon 16:9MIOPlaceholderMapping.IFX_PresentationTitle_3MIOPlaceholderMapping.4MIOPlaceholderMapping-Infineon 16:9MIOPlaceholderMapping.Presentation title 1MIOPlaceholderMapping.1MIOPlaceholderMapping;Infineon 16:9MIOPlaceholderMapping.IFX_PresentationTitle_1MIOPlaceholderMapping.2MIOPlaceholderMapping.Picture Placeholder 20MIOPlaceholderMapping.18MIOPlaceholderMapping-Infineon 16:9MIOPlaceholderMapping.Presentation title 1MIOPlaceholderMapping.1MIOPlaceholderMapping.Crystal Picture PlaceholderMIOPlaceholderMapping.15MIOPlaceholderMapping;Infineon 16:9MIOPlaceholderMapping.IFX_PresentationTitle_2MIOPlaceholderMapping.3MIOPlaceholderMapping.Picture Placeholder 20MIOPlaceholderMapping.14MIOPlaceholderMapping-Infineon 16:9MIOPlaceholderMapping.Presentation title 1MIOPlaceholderMapping.1MIOPlaceholderMapping.Crystal Picture PlaceholderMIOPlaceholderMapping.1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our_ColumnsMIOPlaceholderMapping.15MIOPlaceholderMapping-Infineon 16:9MIOPlaceholderMapping.4 columnsMIOPlaceholderMapping.1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Four_ColumnsMIOPlaceholderMapping.16MIOPlaceholderMapping-Infineon 16:9MIOPlaceholderMapping.Row | 4 columnsMIOPlaceholderMapping.15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EmptyMIOPlaceholderMapping.17MIOPlaceholderMapping-Infineon 16:9MIOPlaceholderMapping.EmptyMIOPlaceholderMapping.16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ullpicMIOPlaceholderMapping.18MIOPlaceholderMapping-Infineon 16:9MIOPlaceholderMapping.FullpicMIOPlaceholderMapping.17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inal_ClaimMIOPlaceholderMapping.19MIOPlaceholderMapping-Infineon 16:9MIOPlaceholderMapping.FinalMIOPlaceholderMapping.18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MIOPlaceholderMapping.1MIOPlaceholderMapping-Infineon 16:9MIOPlaceholderMapping.Presentation title 3MIOPlaceholderMapping.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OnlyMIOPlaceholderMapping.5MIOPlaceholderMapping-Infineon 16:9MIOPlaceholderMapping.Title OnlyMIOPlaceholderMapping.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False"/>
  <p:tag name="MIO_SHOW_PAGENUMBER" val="False"/>
  <p:tag name="MIO_AVOID_BLANK_LAYOUT" val="False"/>
  <p:tag name="MIO_CD_LAYOUT_VALID_AREA" val="False"/>
  <p:tag name="MIO_EMBED_FONT" val="False"/>
  <p:tag name="MIO_MATCH_COLOR_SCHEME" val="True"/>
  <p:tag name="MIO_NUMBER_OF_VALID_LAYOUTS" val="18"/>
  <p:tag name="MIO_HDS" val="True"/>
  <p:tag name="MIO_SKIPVERSION" val="01.01.0001 00:00:00"/>
  <p:tag name="MIO_EKGUID" val="f8120ca7-cceb-428f-a7d0-f20ce9397e1b"/>
  <p:tag name="MIO_UPDATE" val="True"/>
  <p:tag name="MIO_VERSION" val="13.05.2023 07:12:22"/>
  <p:tag name="MIO_DBID" val="FDE84254-54DB-49E3-9A0E-CDE72035D530"/>
  <p:tag name="MIO_LASTDOWNLOADED" val="26.07.2023 12:28:29.220"/>
  <p:tag name="MIO_OBJECTNAME" val="Infineon LCD 16:9"/>
  <p:tag name="MIO_CDID" val="e2fc2f9e-d5cf-4311-b3a1-0559b8fd1ab8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ContentMIOPlaceholderMapping.6MIOPlaceholderMapping-Infineon 16:9MIOPlaceholderMapping.Title | contentMIOPlaceholderMapping.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wo_ContentMIOPlaceholderMapping.8MIOPlaceholderMapping-Infineon 16:9MIOPlaceholderMapping.2 contentsMIOPlaceholderMapping.6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SectionMIOPlaceholderMapping.9MIOPlaceholderMapping-Infineon 16:9MIOPlaceholderMapping.Section 1MIOPlaceholderMapping.7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Four_ContentMIOPlaceholderMapping.10MIOPlaceholderMapping-Infineon 16:9MIOPlaceholderMapping.4 contentsMIOPlaceholderMapping.9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wo_ColumnsMIOPlaceholderMapping.11MIOPlaceholderMapping-Infineon 16:9MIOPlaceholderMapping.Row | 2 columnsMIOPlaceholderMapping.1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Infineon 16:9">
  <a:themeElements>
    <a:clrScheme name="ARPLab">
      <a:dk1>
        <a:srgbClr val="1D1D1D"/>
      </a:dk1>
      <a:lt1>
        <a:srgbClr val="FFFFFF"/>
      </a:lt1>
      <a:dk2>
        <a:srgbClr val="7290A5"/>
      </a:dk2>
      <a:lt2>
        <a:srgbClr val="8D8786"/>
      </a:lt2>
      <a:accent1>
        <a:srgbClr val="7290A5"/>
      </a:accent1>
      <a:accent2>
        <a:srgbClr val="575352"/>
      </a:accent2>
      <a:accent3>
        <a:srgbClr val="F97414"/>
      </a:accent3>
      <a:accent4>
        <a:srgbClr val="9BBA43"/>
      </a:accent4>
      <a:accent5>
        <a:srgbClr val="FCD442"/>
      </a:accent5>
      <a:accent6>
        <a:srgbClr val="9C216E"/>
      </a:accent6>
      <a:hlink>
        <a:srgbClr val="7290A5"/>
      </a:hlink>
      <a:folHlink>
        <a:srgbClr val="20408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</a:spPr>
      <a:bodyPr wrap="square" lIns="72000" tIns="72000" rIns="72000" bIns="72000" rtlCol="0" anchor="ctr"/>
      <a:lstStyle>
        <a:defPPr algn="ctr" defTabSz="576000" eaLnBrk="0" hangingPunct="0">
          <a:lnSpc>
            <a:spcPct val="120000"/>
          </a:lnSpc>
          <a:defRPr sz="1600" baseline="0" dirty="0">
            <a:solidFill>
              <a:schemeClr val="bg1"/>
            </a:solidFill>
            <a:latin typeface="+mn-lt"/>
            <a:ea typeface="+mn-ea"/>
            <a:cs typeface="+mn-cs"/>
          </a:defRPr>
        </a:defPPr>
      </a:lstStyle>
    </a:spDef>
    <a:lnDef>
      <a:spPr>
        <a:ln w="9525">
          <a:solidFill>
            <a:schemeClr val="bg2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 rtlCol="0" anchor="t" anchorCtr="0">
        <a:spAutoFit/>
      </a:bodyPr>
      <a:lstStyle>
        <a:defPPr marL="252000" marR="0" indent="-252000" algn="l" defTabSz="576000" eaLnBrk="0" fontAlgn="auto" latinLnBrk="0" hangingPunct="0">
          <a:lnSpc>
            <a:spcPct val="120000"/>
          </a:lnSpc>
          <a:spcBef>
            <a:spcPts val="0"/>
          </a:spcBef>
          <a:spcAft>
            <a:spcPts val="0"/>
          </a:spcAft>
          <a:buClr>
            <a:schemeClr val="tx2"/>
          </a:buClr>
          <a:buSzTx/>
          <a:buFont typeface="Arial" panose="020B0604020202020204" pitchFamily="34" charset="0"/>
          <a:buChar char="‒"/>
          <a:tabLst/>
          <a:defRPr sz="1800" kern="0" baseline="0" dirty="0"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100">
      <a:srgbClr val="0A8276"/>
    </a:custClr>
    <a:custClr name="Ocean 80">
      <a:srgbClr val="3B9B91"/>
    </a:custClr>
    <a:custClr name="Ocean 60">
      <a:srgbClr val="6CB4AD"/>
    </a:custClr>
    <a:custClr name="Ocean 40">
      <a:srgbClr val="B8DEDA"/>
    </a:custClr>
    <a:custClr name="White">
      <a:srgbClr val="FFFFFF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Main">
      <a:srgbClr val="9BBA43"/>
    </a:custClr>
    <a:custClr name="Berry Main">
      <a:srgbClr val="9C216E"/>
    </a:custClr>
    <a:custClr name="Engineering Main">
      <a:srgbClr val="575352"/>
    </a:custClr>
    <a:custClr name="Sun Main">
      <a:srgbClr val="F97414"/>
    </a:custClr>
    <a:custClr name="Sand Main">
      <a:srgbClr val="FCD442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Light">
      <a:srgbClr val="B9D257"/>
    </a:custClr>
    <a:custClr name="Berry Light">
      <a:srgbClr val="BE3283"/>
    </a:custClr>
    <a:custClr name="Engineering Light">
      <a:srgbClr val="8D8786"/>
    </a:custClr>
    <a:custClr name="Sun Light">
      <a:srgbClr val="FF9737"/>
    </a:custClr>
    <a:custClr name="Sand Light">
      <a:srgbClr val="FBE273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Grey 300 ">
      <a:srgbClr val="DCD5D7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</a:custClrLst>
  <a:extLst>
    <a:ext uri="{05A4C25C-085E-4340-85A3-A5531E510DB2}">
      <thm15:themeFamily xmlns:thm15="http://schemas.microsoft.com/office/thememl/2012/main" name="Default Theme" id="{1E115DF3-41F0-4647-B0A5-8A317E6D094E}" vid="{137F0F39-D844-4AA9-B871-823A03F108D0}"/>
    </a:ext>
  </a:extLst>
</a:theme>
</file>

<file path=ppt/theme/theme2.xml><?xml version="1.0" encoding="utf-8"?>
<a:theme xmlns:a="http://schemas.openxmlformats.org/drawingml/2006/main" name="Larissa-Design">
  <a:themeElements>
    <a:clrScheme name="Infineon">
      <a:dk1>
        <a:srgbClr val="000000"/>
      </a:dk1>
      <a:lt1>
        <a:srgbClr val="FFFFFF"/>
      </a:lt1>
      <a:dk2>
        <a:srgbClr val="FFE054"/>
      </a:dk2>
      <a:lt2>
        <a:srgbClr val="E9E6E6"/>
      </a:lt2>
      <a:accent1>
        <a:srgbClr val="E30034"/>
      </a:accent1>
      <a:accent2>
        <a:srgbClr val="928285"/>
      </a:accent2>
      <a:accent3>
        <a:srgbClr val="84B6A7"/>
      </a:accent3>
      <a:accent4>
        <a:srgbClr val="AEC067"/>
      </a:accent4>
      <a:accent5>
        <a:srgbClr val="EE813C"/>
      </a:accent5>
      <a:accent6>
        <a:srgbClr val="AB377A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Infineon_ColorTheme_2012">
      <a:dk1>
        <a:srgbClr val="00214A"/>
      </a:dk1>
      <a:lt1>
        <a:srgbClr val="FFFFFF"/>
      </a:lt1>
      <a:dk2>
        <a:srgbClr val="00214A"/>
      </a:dk2>
      <a:lt2>
        <a:srgbClr val="C8D8E6"/>
      </a:lt2>
      <a:accent1>
        <a:srgbClr val="B70D28"/>
      </a:accent1>
      <a:accent2>
        <a:srgbClr val="E3EBF2"/>
      </a:accent2>
      <a:accent3>
        <a:srgbClr val="005DA9"/>
      </a:accent3>
      <a:accent4>
        <a:srgbClr val="969696"/>
      </a:accent4>
      <a:accent5>
        <a:srgbClr val="FDC400"/>
      </a:accent5>
      <a:accent6>
        <a:srgbClr val="009651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55AAE9148B404486CBFDD74AD2AA0B" ma:contentTypeVersion="2" ma:contentTypeDescription="Create a new document." ma:contentTypeScope="" ma:versionID="a24cc1775e4f53b56bd6bf310015a115">
  <xsd:schema xmlns:xsd="http://www.w3.org/2001/XMLSchema" xmlns:xs="http://www.w3.org/2001/XMLSchema" xmlns:p="http://schemas.microsoft.com/office/2006/metadata/properties" xmlns:ns2="a709603d-609a-478b-a91d-3c5e984c0e79" xmlns:ns3="6ef45842-284e-44e4-b2db-1749e7948b44" targetNamespace="http://schemas.microsoft.com/office/2006/metadata/properties" ma:root="true" ma:fieldsID="f8923fe8aa0ace7ab58ef4ccc8b43a85" ns2:_="" ns3:_="">
    <xsd:import namespace="a709603d-609a-478b-a91d-3c5e984c0e79"/>
    <xsd:import namespace="6ef45842-284e-44e4-b2db-1749e7948b44"/>
    <xsd:element name="properties">
      <xsd:complexType>
        <xsd:sequence>
          <xsd:element name="documentManagement">
            <xsd:complexType>
              <xsd:all>
                <xsd:element ref="ns2:Ver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09603d-609a-478b-a91d-3c5e984c0e79" elementFormDefault="qualified">
    <xsd:import namespace="http://schemas.microsoft.com/office/2006/documentManagement/types"/>
    <xsd:import namespace="http://schemas.microsoft.com/office/infopath/2007/PartnerControls"/>
    <xsd:element name="Ver" ma:index="8" nillable="true" ma:displayName="Ver" ma:default="0" ma:internalName="Ver" ma:percentage="FALS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f45842-284e-44e4-b2db-1749e7948b44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customXsn xmlns="http://schemas.microsoft.com/office/2006/metadata/customXsn">
  <xsnLocation/>
  <cached>True</cached>
  <openByDefault>False</openByDefault>
  <xsnScope/>
</customXsn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er xmlns="a709603d-609a-478b-a91d-3c5e984c0e79">0</Ver>
  </documentManagement>
</p:properties>
</file>

<file path=customXml/itemProps1.xml><?xml version="1.0" encoding="utf-8"?>
<ds:datastoreItem xmlns:ds="http://schemas.openxmlformats.org/officeDocument/2006/customXml" ds:itemID="{AF2014AB-78C2-4F59-9D6E-9572E72F7781}">
  <ds:schemaRefs>
    <ds:schemaRef ds:uri="6ef45842-284e-44e4-b2db-1749e7948b44"/>
    <ds:schemaRef ds:uri="a709603d-609a-478b-a91d-3c5e984c0e7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63C6748B-B74E-4BE1-834C-AEBB9BCA18F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C144A13-A380-40B3-9980-61BD11F58D02}">
  <ds:schemaRefs>
    <ds:schemaRef ds:uri="http://schemas.microsoft.com/office/2006/metadata/customXsn"/>
  </ds:schemaRefs>
</ds:datastoreItem>
</file>

<file path=customXml/itemProps4.xml><?xml version="1.0" encoding="utf-8"?>
<ds:datastoreItem xmlns:ds="http://schemas.openxmlformats.org/officeDocument/2006/customXml" ds:itemID="{D299A1D5-F553-4264-9022-E0136C61CE27}">
  <ds:schemaRefs>
    <ds:schemaRef ds:uri="http://schemas.microsoft.com/office/2006/documentManagement/types"/>
    <ds:schemaRef ds:uri="a709603d-609a-478b-a91d-3c5e984c0e79"/>
    <ds:schemaRef ds:uri="http://purl.org/dc/dcmitype/"/>
    <ds:schemaRef ds:uri="6ef45842-284e-44e4-b2db-1749e7948b44"/>
    <ds:schemaRef ds:uri="http://purl.org/dc/elements/1.1/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19</TotalTime>
  <Words>1308</Words>
  <Application>Microsoft Office PowerPoint</Application>
  <PresentationFormat>Widescreen</PresentationFormat>
  <Paragraphs>279</Paragraphs>
  <Slides>17</Slides>
  <Notes>14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0" baseType="lpstr">
      <vt:lpstr>Arial</vt:lpstr>
      <vt:lpstr>Cambria Math</vt:lpstr>
      <vt:lpstr>Infineon 16:9</vt:lpstr>
      <vt:lpstr>Biweekly Update Presentation 01</vt:lpstr>
      <vt:lpstr>Outline</vt:lpstr>
      <vt:lpstr>What is done - Tutorials</vt:lpstr>
      <vt:lpstr>What is done – Dynamic Calibration : Recap</vt:lpstr>
      <vt:lpstr>What is done – Dynamic Calibration : Recap</vt:lpstr>
      <vt:lpstr>What is done – Dynamic Calibration : Recap</vt:lpstr>
      <vt:lpstr>What is done – Dynamic Calibration : Buffer</vt:lpstr>
      <vt:lpstr>What is done – Dynamic Calibration : Memory-SFDR</vt:lpstr>
      <vt:lpstr>What is done – Dynamic Calibration : Memory-THD</vt:lpstr>
      <vt:lpstr>What is done – Dynamic Calibration : Memory-SFDR</vt:lpstr>
      <vt:lpstr>What is done – Dynamic Calibration : Memory-THD</vt:lpstr>
      <vt:lpstr>What is the current status - Invertibility</vt:lpstr>
      <vt:lpstr>What is the current status - Invertibility</vt:lpstr>
      <vt:lpstr>What is the current status – Invertibility: Hcalib(s)</vt:lpstr>
      <vt:lpstr>What is the current status – Invertibility: Hcalib(s)</vt:lpstr>
      <vt:lpstr>Plans for the next weeks</vt:lpstr>
      <vt:lpstr>PowerPoint Presentation</vt:lpstr>
    </vt:vector>
  </TitlesOfParts>
  <Company>Infineon Technolog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ristofoli Andrea (DCV DES DOS IP AMS WLS WADC)</dc:creator>
  <cp:lastModifiedBy>Berkay Ipek</cp:lastModifiedBy>
  <cp:revision>10</cp:revision>
  <dcterms:created xsi:type="dcterms:W3CDTF">2023-11-30T10:20:59Z</dcterms:created>
  <dcterms:modified xsi:type="dcterms:W3CDTF">2025-05-29T13:41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ID">
    <vt:lpwstr/>
  </property>
  <property fmtid="{D5CDD505-2E9C-101B-9397-08002B2CF9AE}" pid="3" name="DocumentVersion">
    <vt:lpwstr/>
  </property>
  <property fmtid="{D5CDD505-2E9C-101B-9397-08002B2CF9AE}" pid="4" name="Proprietary">
    <vt:lpwstr/>
  </property>
  <property fmtid="{D5CDD505-2E9C-101B-9397-08002B2CF9AE}" pid="5" name="ConfidentialityMarking">
    <vt:lpwstr>restricted</vt:lpwstr>
  </property>
  <property fmtid="{D5CDD505-2E9C-101B-9397-08002B2CF9AE}" pid="6" name="AdditionalMarking">
    <vt:lpwstr/>
  </property>
  <property fmtid="{D5CDD505-2E9C-101B-9397-08002B2CF9AE}" pid="7" name="TemplateCompany">
    <vt:lpwstr>IFX</vt:lpwstr>
  </property>
  <property fmtid="{D5CDD505-2E9C-101B-9397-08002B2CF9AE}" pid="8" name="ContentTypeId">
    <vt:lpwstr>0x010100A655AAE9148B404486CBFDD74AD2AA0B</vt:lpwstr>
  </property>
  <property fmtid="{D5CDD505-2E9C-101B-9397-08002B2CF9AE}" pid="9" name="empower.integration.Classification.DocumentId">
    <vt:lpwstr/>
  </property>
  <property fmtid="{D5CDD505-2E9C-101B-9397-08002B2CF9AE}" pid="10" name="empower.integration.Classification.DocumentVersion">
    <vt:lpwstr/>
  </property>
  <property fmtid="{D5CDD505-2E9C-101B-9397-08002B2CF9AE}" pid="11" name="empower.integration.Classification.DocumentOwner">
    <vt:lpwstr/>
  </property>
  <property fmtid="{D5CDD505-2E9C-101B-9397-08002B2CF9AE}" pid="12" name="empower.integration.Classification.ShowFooter">
    <vt:bool>true</vt:bool>
  </property>
  <property fmtid="{D5CDD505-2E9C-101B-9397-08002B2CF9AE}" pid="13" name="empower.integration.Classification.RestrictionLevel">
    <vt:i4>1</vt:i4>
  </property>
  <property fmtid="{D5CDD505-2E9C-101B-9397-08002B2CF9AE}" pid="14" name="empower.integration.Classification.FooterDate">
    <vt:filetime>2023-03-18T12:11:36Z</vt:filetime>
  </property>
  <property fmtid="{D5CDD505-2E9C-101B-9397-08002B2CF9AE}" pid="15" name="empower.integration.Classification.DateFormat">
    <vt:lpwstr>d MMM yyyy</vt:lpwstr>
  </property>
  <property fmtid="{D5CDD505-2E9C-101B-9397-08002B2CF9AE}" pid="16" name="empower.integration.Classification.IsDraft">
    <vt:bool>false</vt:bool>
  </property>
  <property fmtid="{D5CDD505-2E9C-101B-9397-08002B2CF9AE}" pid="17" name="empower.integration.Classification.IsProprietary">
    <vt:bool>false</vt:bool>
  </property>
  <property fmtid="{D5CDD505-2E9C-101B-9397-08002B2CF9AE}" pid="18" name="empower.integration.Classification.HasAdditionalMarking">
    <vt:bool>false</vt:bool>
  </property>
  <property fmtid="{D5CDD505-2E9C-101B-9397-08002B2CF9AE}" pid="19" name="empower.integration.Classification.AdditionalMarking">
    <vt:lpwstr/>
  </property>
  <property fmtid="{D5CDD505-2E9C-101B-9397-08002B2CF9AE}" pid="20" name="empower.integration.Classification.IsEmpowerClassified">
    <vt:bool>true</vt:bool>
  </property>
  <property fmtid="{D5CDD505-2E9C-101B-9397-08002B2CF9AE}" pid="21" name="empower_migrated_document">
    <vt:lpwstr>true</vt:lpwstr>
  </property>
  <property fmtid="{D5CDD505-2E9C-101B-9397-08002B2CF9AE}" pid="22" name="MSIP_Label_a15a25aa-e944-415d-b7a7-40f6b9180b6b_Enabled">
    <vt:lpwstr>true</vt:lpwstr>
  </property>
  <property fmtid="{D5CDD505-2E9C-101B-9397-08002B2CF9AE}" pid="23" name="MSIP_Label_a15a25aa-e944-415d-b7a7-40f6b9180b6b_SetDate">
    <vt:lpwstr>2023-03-24T13:40:28Z</vt:lpwstr>
  </property>
  <property fmtid="{D5CDD505-2E9C-101B-9397-08002B2CF9AE}" pid="24" name="MSIP_Label_a15a25aa-e944-415d-b7a7-40f6b9180b6b_Method">
    <vt:lpwstr>Standard</vt:lpwstr>
  </property>
  <property fmtid="{D5CDD505-2E9C-101B-9397-08002B2CF9AE}" pid="25" name="MSIP_Label_a15a25aa-e944-415d-b7a7-40f6b9180b6b_Name">
    <vt:lpwstr>a15a25aa-e944-415d-b7a7-40f6b9180b6b</vt:lpwstr>
  </property>
  <property fmtid="{D5CDD505-2E9C-101B-9397-08002B2CF9AE}" pid="26" name="MSIP_Label_a15a25aa-e944-415d-b7a7-40f6b9180b6b_SiteId">
    <vt:lpwstr>eeb8d0e8-3544-41d3-aac6-934c309faf5a</vt:lpwstr>
  </property>
  <property fmtid="{D5CDD505-2E9C-101B-9397-08002B2CF9AE}" pid="27" name="MSIP_Label_a15a25aa-e944-415d-b7a7-40f6b9180b6b_ActionId">
    <vt:lpwstr>73b1d637-b020-4fda-a205-ff5e02ff8705</vt:lpwstr>
  </property>
  <property fmtid="{D5CDD505-2E9C-101B-9397-08002B2CF9AE}" pid="28" name="MSIP_Label_a15a25aa-e944-415d-b7a7-40f6b9180b6b_ContentBits">
    <vt:lpwstr>0</vt:lpwstr>
  </property>
</Properties>
</file>